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4.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8" r:id="rId4"/>
    <p:sldMasterId id="2147483677" r:id="rId5"/>
  </p:sldMasterIdLst>
  <p:notesMasterIdLst>
    <p:notesMasterId r:id="rId18"/>
  </p:notesMasterIdLst>
  <p:handoutMasterIdLst>
    <p:handoutMasterId r:id="rId19"/>
  </p:handoutMasterIdLst>
  <p:sldIdLst>
    <p:sldId id="305" r:id="rId6"/>
    <p:sldId id="342" r:id="rId7"/>
    <p:sldId id="337" r:id="rId8"/>
    <p:sldId id="338" r:id="rId9"/>
    <p:sldId id="339" r:id="rId10"/>
    <p:sldId id="340" r:id="rId11"/>
    <p:sldId id="334" r:id="rId12"/>
    <p:sldId id="341" r:id="rId13"/>
    <p:sldId id="336" r:id="rId14"/>
    <p:sldId id="343" r:id="rId15"/>
    <p:sldId id="344" r:id="rId16"/>
    <p:sldId id="299" r:id="rId17"/>
  </p:sldIdLst>
  <p:sldSz cx="12192000" cy="6858000"/>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29" userDrawn="1">
          <p15:clr>
            <a:srgbClr val="A4A3A4"/>
          </p15:clr>
        </p15:guide>
        <p15:guide id="2" orient="horz" pos="4027" userDrawn="1">
          <p15:clr>
            <a:srgbClr val="A4A3A4"/>
          </p15:clr>
        </p15:guide>
        <p15:guide id="3" orient="horz" pos="709" userDrawn="1">
          <p15:clr>
            <a:srgbClr val="A4A3A4"/>
          </p15:clr>
        </p15:guide>
        <p15:guide id="4" orient="horz" pos="1684" userDrawn="1">
          <p15:clr>
            <a:srgbClr val="A4A3A4"/>
          </p15:clr>
        </p15:guide>
        <p15:guide id="5" orient="horz" pos="1207" userDrawn="1">
          <p15:clr>
            <a:srgbClr val="A4A3A4"/>
          </p15:clr>
        </p15:guide>
        <p15:guide id="7" orient="horz" pos="2001" userDrawn="1">
          <p15:clr>
            <a:srgbClr val="A4A3A4"/>
          </p15:clr>
        </p15:guide>
        <p15:guide id="8" orient="horz" pos="3090" userDrawn="1">
          <p15:clr>
            <a:srgbClr val="A4A3A4"/>
          </p15:clr>
        </p15:guide>
        <p15:guide id="9" orient="horz" pos="3566" userDrawn="1">
          <p15:clr>
            <a:srgbClr val="A4A3A4"/>
          </p15:clr>
        </p15:guide>
        <p15:guide id="10" orient="horz" pos="146" userDrawn="1">
          <p15:clr>
            <a:srgbClr val="A4A3A4"/>
          </p15:clr>
        </p15:guide>
        <p15:guide id="11" orient="horz" pos="4177" userDrawn="1">
          <p15:clr>
            <a:srgbClr val="A4A3A4"/>
          </p15:clr>
        </p15:guide>
        <p15:guide id="12" orient="horz" pos="2341" userDrawn="1">
          <p15:clr>
            <a:srgbClr val="A4A3A4"/>
          </p15:clr>
        </p15:guide>
        <p15:guide id="13" orient="horz" pos="2251" userDrawn="1">
          <p15:clr>
            <a:srgbClr val="A4A3A4"/>
          </p15:clr>
        </p15:guide>
        <p15:guide id="14" orient="horz" pos="3203" userDrawn="1">
          <p15:clr>
            <a:srgbClr val="A4A3A4"/>
          </p15:clr>
        </p15:guide>
        <p15:guide id="15" pos="393" userDrawn="1">
          <p15:clr>
            <a:srgbClr val="A4A3A4"/>
          </p15:clr>
        </p15:guide>
        <p15:guide id="16" pos="7265" userDrawn="1">
          <p15:clr>
            <a:srgbClr val="A4A3A4"/>
          </p15:clr>
        </p15:guide>
        <p15:guide id="17" pos="642" userDrawn="1">
          <p15:clr>
            <a:srgbClr val="A4A3A4"/>
          </p15:clr>
        </p15:guide>
        <p15:guide id="18" pos="2111" userDrawn="1">
          <p15:clr>
            <a:srgbClr val="A4A3A4"/>
          </p15:clr>
        </p15:guide>
        <p15:guide id="19" pos="3568" userDrawn="1">
          <p15:clr>
            <a:srgbClr val="A4A3A4"/>
          </p15:clr>
        </p15:guide>
        <p15:guide id="20" pos="7491" userDrawn="1">
          <p15:clr>
            <a:srgbClr val="A4A3A4"/>
          </p15:clr>
        </p15:guide>
        <p15:guide id="21" pos="7174" userDrawn="1">
          <p15:clr>
            <a:srgbClr val="A4A3A4"/>
          </p15:clr>
        </p15:guide>
        <p15:guide id="22" pos="3953" userDrawn="1">
          <p15:clr>
            <a:srgbClr val="A4A3A4"/>
          </p15:clr>
        </p15:guide>
        <p15:guide id="23" pos="372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002B"/>
    <a:srgbClr val="54585A"/>
    <a:srgbClr val="0093B2"/>
    <a:srgbClr val="FF671F"/>
    <a:srgbClr val="B5BD00"/>
    <a:srgbClr val="003865"/>
    <a:srgbClr val="A7A8AA"/>
    <a:srgbClr val="9BD3DD"/>
    <a:srgbClr val="D7EDF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3239" autoAdjust="0"/>
  </p:normalViewPr>
  <p:slideViewPr>
    <p:cSldViewPr snapToGrid="0" snapToObjects="1">
      <p:cViewPr varScale="1">
        <p:scale>
          <a:sx n="66" d="100"/>
          <a:sy n="66" d="100"/>
        </p:scale>
        <p:origin x="90" y="174"/>
      </p:cViewPr>
      <p:guideLst>
        <p:guide orient="horz" pos="3929"/>
        <p:guide orient="horz" pos="4027"/>
        <p:guide orient="horz" pos="709"/>
        <p:guide orient="horz" pos="1684"/>
        <p:guide orient="horz" pos="1207"/>
        <p:guide orient="horz" pos="2001"/>
        <p:guide orient="horz" pos="3090"/>
        <p:guide orient="horz" pos="3566"/>
        <p:guide orient="horz" pos="146"/>
        <p:guide orient="horz" pos="4177"/>
        <p:guide orient="horz" pos="2341"/>
        <p:guide orient="horz" pos="2251"/>
        <p:guide orient="horz" pos="3203"/>
        <p:guide pos="393"/>
        <p:guide pos="7265"/>
        <p:guide pos="642"/>
        <p:guide pos="2111"/>
        <p:guide pos="3568"/>
        <p:guide pos="7491"/>
        <p:guide pos="7174"/>
        <p:guide pos="3953"/>
        <p:guide pos="3727"/>
      </p:guideLst>
    </p:cSldViewPr>
  </p:slideViewPr>
  <p:outlineViewPr>
    <p:cViewPr>
      <p:scale>
        <a:sx n="33" d="100"/>
        <a:sy n="33" d="100"/>
      </p:scale>
      <p:origin x="0" y="-144"/>
    </p:cViewPr>
  </p:outlineViewPr>
  <p:notesTextViewPr>
    <p:cViewPr>
      <p:scale>
        <a:sx n="3" d="2"/>
        <a:sy n="3" d="2"/>
      </p:scale>
      <p:origin x="0" y="0"/>
    </p:cViewPr>
  </p:notesTextViewPr>
  <p:sorterViewPr>
    <p:cViewPr>
      <p:scale>
        <a:sx n="100" d="100"/>
        <a:sy n="100" d="100"/>
      </p:scale>
      <p:origin x="0" y="0"/>
    </p:cViewPr>
  </p:sorterViewPr>
  <p:notesViewPr>
    <p:cSldViewPr snapToGrid="0" snapToObjects="1" showGuides="1">
      <p:cViewPr varScale="1">
        <p:scale>
          <a:sx n="72" d="100"/>
          <a:sy n="72" d="100"/>
        </p:scale>
        <p:origin x="1334" y="77"/>
      </p:cViewPr>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EU\EMEA\EEU\MOSCOW\SNR\02.%20Departments\HOSPITALITY\Marketing\Conferences\RSPP\Statistic.xlsx" TargetMode="External"/><Relationship Id="rId2" Type="http://schemas.openxmlformats.org/officeDocument/2006/relationships/image" Target="../media/image9.png"/><Relationship Id="rId1" Type="http://schemas.openxmlformats.org/officeDocument/2006/relationships/image" Target="../media/image8.png"/><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file:///\\EU\EMEA\EEU\MOSCOW\SNR\02.%20Departments\HOSPITALITY\Marketing\Conferences\RSPP\Statistic.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EU\EMEA\EEU\MOSCOW\SNR\02.%20Departments\HOSPITALITY\Marketing\Conferences\RSPP\Statistic.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file:///\\EU\EMEA\EEU\MOSCOW\SNR\02.%20Departments\HOSPITALITY\Marketing\Conferences\RSPP\Statistic.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file:///\\EU\EMEA\EEU\MOSCOW\SNR\02.%20Departments\HOSPITALITY\Marketing\Conferences\RSPP\Statistic.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file:///\\EU\EMEA\EEU\MOSCOW\SNR\02.%20Departments\HOSPITALITY\Marketing\Conferences\RSPP\Statistic.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ru-RU"/>
              <a:t>Распределение гостиничной базы по регионам РФ, 2015 год</a:t>
            </a:r>
            <a:endParaRPr lang="en-US"/>
          </a:p>
        </c:rich>
      </c:tx>
      <c:layout/>
      <c:overlay val="0"/>
      <c:spPr>
        <a:noFill/>
        <a:ln>
          <a:noFill/>
        </a:ln>
        <a:effectLst/>
      </c:spPr>
    </c:title>
    <c:autoTitleDeleted val="0"/>
    <c:plotArea>
      <c:layout>
        <c:manualLayout>
          <c:layoutTarget val="inner"/>
          <c:xMode val="edge"/>
          <c:yMode val="edge"/>
          <c:x val="6.4453494680576387E-2"/>
          <c:y val="8.8290534133477705E-2"/>
          <c:w val="0.87469577703932166"/>
          <c:h val="0.42435296005879924"/>
        </c:manualLayout>
      </c:layout>
      <c:lineChart>
        <c:grouping val="standard"/>
        <c:varyColors val="0"/>
        <c:ser>
          <c:idx val="0"/>
          <c:order val="0"/>
          <c:tx>
            <c:strRef>
              <c:f>'Гостиницы и места'!$B$4</c:f>
              <c:strCache>
                <c:ptCount val="1"/>
                <c:pt idx="0">
                  <c:v>2015</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Гостиницы и места'!$A$5:$A$95</c:f>
              <c:strCache>
                <c:ptCount val="83"/>
                <c:pt idx="0">
                  <c:v>Белгородская область</c:v>
                </c:pt>
                <c:pt idx="1">
                  <c:v>Брянская область</c:v>
                </c:pt>
                <c:pt idx="2">
                  <c:v>Владимирская область</c:v>
                </c:pt>
                <c:pt idx="3">
                  <c:v>Воронежская область</c:v>
                </c:pt>
                <c:pt idx="4">
                  <c:v>Ивановская область</c:v>
                </c:pt>
                <c:pt idx="5">
                  <c:v>Калужская область</c:v>
                </c:pt>
                <c:pt idx="6">
                  <c:v>Костромская область</c:v>
                </c:pt>
                <c:pt idx="7">
                  <c:v>Курская область</c:v>
                </c:pt>
                <c:pt idx="8">
                  <c:v>Липецкая область</c:v>
                </c:pt>
                <c:pt idx="9">
                  <c:v>Московская область</c:v>
                </c:pt>
                <c:pt idx="10">
                  <c:v>Орловская область</c:v>
                </c:pt>
                <c:pt idx="11">
                  <c:v>Рязанская область</c:v>
                </c:pt>
                <c:pt idx="12">
                  <c:v>Смоленская область</c:v>
                </c:pt>
                <c:pt idx="13">
                  <c:v>Тамбовская область</c:v>
                </c:pt>
                <c:pt idx="14">
                  <c:v>Тверская область</c:v>
                </c:pt>
                <c:pt idx="15">
                  <c:v>Тульская область</c:v>
                </c:pt>
                <c:pt idx="16">
                  <c:v>Ярославская область</c:v>
                </c:pt>
                <c:pt idx="17">
                  <c:v>г.Москва</c:v>
                </c:pt>
                <c:pt idx="18">
                  <c:v>Республика Карелия</c:v>
                </c:pt>
                <c:pt idx="19">
                  <c:v>Республика Коми</c:v>
                </c:pt>
                <c:pt idx="20">
                  <c:v>Архангельская область</c:v>
                </c:pt>
                <c:pt idx="21">
                  <c:v>Ненецкий автономный округ</c:v>
                </c:pt>
                <c:pt idx="22">
                  <c:v>Архангельская область (без автономного округа)</c:v>
                </c:pt>
                <c:pt idx="23">
                  <c:v>Вологодская область</c:v>
                </c:pt>
                <c:pt idx="24">
                  <c:v>Калининградская область</c:v>
                </c:pt>
                <c:pt idx="25">
                  <c:v>Ленинградская область</c:v>
                </c:pt>
                <c:pt idx="26">
                  <c:v>Мурманская область</c:v>
                </c:pt>
                <c:pt idx="27">
                  <c:v>Новгородская область</c:v>
                </c:pt>
                <c:pt idx="28">
                  <c:v>Псковская область</c:v>
                </c:pt>
                <c:pt idx="29">
                  <c:v>г.Санкт-Петербург</c:v>
                </c:pt>
                <c:pt idx="30">
                  <c:v>Республика Адыгея</c:v>
                </c:pt>
                <c:pt idx="31">
                  <c:v>Республика Калмыкия</c:v>
                </c:pt>
                <c:pt idx="32">
                  <c:v>Республика Крым</c:v>
                </c:pt>
                <c:pt idx="33">
                  <c:v>Краснодарский край</c:v>
                </c:pt>
                <c:pt idx="34">
                  <c:v>Астраханская область</c:v>
                </c:pt>
                <c:pt idx="35">
                  <c:v>Волгоградская область</c:v>
                </c:pt>
                <c:pt idx="36">
                  <c:v>Ростовская область</c:v>
                </c:pt>
                <c:pt idx="37">
                  <c:v>г. Севастополь</c:v>
                </c:pt>
                <c:pt idx="38">
                  <c:v>Республика Дагестан</c:v>
                </c:pt>
                <c:pt idx="39">
                  <c:v>Республика Ингушетия</c:v>
                </c:pt>
                <c:pt idx="40">
                  <c:v>Кабардино-Балкарская Республика</c:v>
                </c:pt>
                <c:pt idx="41">
                  <c:v>Карачаево-Черкесская Республика</c:v>
                </c:pt>
                <c:pt idx="42">
                  <c:v>Республика Северная Осетия - Алания</c:v>
                </c:pt>
                <c:pt idx="43">
                  <c:v>Чеченская Республика</c:v>
                </c:pt>
                <c:pt idx="44">
                  <c:v>Ставропольский край</c:v>
                </c:pt>
                <c:pt idx="45">
                  <c:v>Республика Башкортостан</c:v>
                </c:pt>
                <c:pt idx="46">
                  <c:v>Республика Марий Эл</c:v>
                </c:pt>
                <c:pt idx="47">
                  <c:v>Республика Мордовия</c:v>
                </c:pt>
                <c:pt idx="48">
                  <c:v>Республика Татарстан</c:v>
                </c:pt>
                <c:pt idx="49">
                  <c:v>Удмуртская Республика</c:v>
                </c:pt>
                <c:pt idx="50">
                  <c:v>Чувашская Республика</c:v>
                </c:pt>
                <c:pt idx="51">
                  <c:v>Пермский край</c:v>
                </c:pt>
                <c:pt idx="52">
                  <c:v>Кировская область</c:v>
                </c:pt>
                <c:pt idx="53">
                  <c:v>Нижегородская область</c:v>
                </c:pt>
                <c:pt idx="54">
                  <c:v>Оренбургская область</c:v>
                </c:pt>
                <c:pt idx="55">
                  <c:v>Пензенская область</c:v>
                </c:pt>
                <c:pt idx="56">
                  <c:v>Самарская область</c:v>
                </c:pt>
                <c:pt idx="57">
                  <c:v>Саратовская область</c:v>
                </c:pt>
                <c:pt idx="58">
                  <c:v>Ульяновская область</c:v>
                </c:pt>
                <c:pt idx="59">
                  <c:v>Курганская область</c:v>
                </c:pt>
                <c:pt idx="60">
                  <c:v>Свердловская область</c:v>
                </c:pt>
                <c:pt idx="61">
                  <c:v>Ханты-Мансийский автономный округ-Югра</c:v>
                </c:pt>
                <c:pt idx="62">
                  <c:v>Ямало-Ненецкий автономный округ</c:v>
                </c:pt>
                <c:pt idx="63">
                  <c:v>Тюменская область (без автономных округов)</c:v>
                </c:pt>
                <c:pt idx="64">
                  <c:v>Челябинская область</c:v>
                </c:pt>
                <c:pt idx="65">
                  <c:v>Республика Бурятия</c:v>
                </c:pt>
                <c:pt idx="66">
                  <c:v>Республика Тыва</c:v>
                </c:pt>
                <c:pt idx="67">
                  <c:v>Алтайский край</c:v>
                </c:pt>
                <c:pt idx="68">
                  <c:v>Республика Алтай</c:v>
                </c:pt>
                <c:pt idx="69">
                  <c:v>Республика Хакассия</c:v>
                </c:pt>
                <c:pt idx="70">
                  <c:v>Красноярский край</c:v>
                </c:pt>
                <c:pt idx="71">
                  <c:v>Иркутская область</c:v>
                </c:pt>
                <c:pt idx="72">
                  <c:v>Кемеровская область</c:v>
                </c:pt>
                <c:pt idx="73">
                  <c:v>Новосибирская область</c:v>
                </c:pt>
                <c:pt idx="74">
                  <c:v>Омская область</c:v>
                </c:pt>
                <c:pt idx="75">
                  <c:v>Томская область</c:v>
                </c:pt>
                <c:pt idx="76">
                  <c:v>Камчатский край</c:v>
                </c:pt>
                <c:pt idx="77">
                  <c:v>Приморский край</c:v>
                </c:pt>
                <c:pt idx="78">
                  <c:v>Хабаровский край</c:v>
                </c:pt>
                <c:pt idx="79">
                  <c:v>Магаданская область</c:v>
                </c:pt>
                <c:pt idx="80">
                  <c:v>Сахалинская область</c:v>
                </c:pt>
                <c:pt idx="81">
                  <c:v>Еврейская автономная область</c:v>
                </c:pt>
                <c:pt idx="82">
                  <c:v>Чукотский автономный округ</c:v>
                </c:pt>
              </c:strCache>
            </c:strRef>
          </c:cat>
          <c:val>
            <c:numRef>
              <c:f>'Гостиницы и места'!$B$5:$B$95</c:f>
            </c:numRef>
          </c:val>
          <c:smooth val="0"/>
        </c:ser>
        <c:ser>
          <c:idx val="1"/>
          <c:order val="1"/>
          <c:tx>
            <c:strRef>
              <c:f>'Гостиницы и места'!$C$4</c:f>
              <c:strCache>
                <c:ptCount val="1"/>
                <c:pt idx="0">
                  <c:v>2015</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Гостиницы и места'!$A$5:$A$95</c:f>
              <c:strCache>
                <c:ptCount val="83"/>
                <c:pt idx="0">
                  <c:v>Белгородская область</c:v>
                </c:pt>
                <c:pt idx="1">
                  <c:v>Брянская область</c:v>
                </c:pt>
                <c:pt idx="2">
                  <c:v>Владимирская область</c:v>
                </c:pt>
                <c:pt idx="3">
                  <c:v>Воронежская область</c:v>
                </c:pt>
                <c:pt idx="4">
                  <c:v>Ивановская область</c:v>
                </c:pt>
                <c:pt idx="5">
                  <c:v>Калужская область</c:v>
                </c:pt>
                <c:pt idx="6">
                  <c:v>Костромская область</c:v>
                </c:pt>
                <c:pt idx="7">
                  <c:v>Курская область</c:v>
                </c:pt>
                <c:pt idx="8">
                  <c:v>Липецкая область</c:v>
                </c:pt>
                <c:pt idx="9">
                  <c:v>Московская область</c:v>
                </c:pt>
                <c:pt idx="10">
                  <c:v>Орловская область</c:v>
                </c:pt>
                <c:pt idx="11">
                  <c:v>Рязанская область</c:v>
                </c:pt>
                <c:pt idx="12">
                  <c:v>Смоленская область</c:v>
                </c:pt>
                <c:pt idx="13">
                  <c:v>Тамбовская область</c:v>
                </c:pt>
                <c:pt idx="14">
                  <c:v>Тверская область</c:v>
                </c:pt>
                <c:pt idx="15">
                  <c:v>Тульская область</c:v>
                </c:pt>
                <c:pt idx="16">
                  <c:v>Ярославская область</c:v>
                </c:pt>
                <c:pt idx="17">
                  <c:v>г.Москва</c:v>
                </c:pt>
                <c:pt idx="18">
                  <c:v>Республика Карелия</c:v>
                </c:pt>
                <c:pt idx="19">
                  <c:v>Республика Коми</c:v>
                </c:pt>
                <c:pt idx="20">
                  <c:v>Архангельская область</c:v>
                </c:pt>
                <c:pt idx="21">
                  <c:v>Ненецкий автономный округ</c:v>
                </c:pt>
                <c:pt idx="22">
                  <c:v>Архангельская область (без автономного округа)</c:v>
                </c:pt>
                <c:pt idx="23">
                  <c:v>Вологодская область</c:v>
                </c:pt>
                <c:pt idx="24">
                  <c:v>Калининградская область</c:v>
                </c:pt>
                <c:pt idx="25">
                  <c:v>Ленинградская область</c:v>
                </c:pt>
                <c:pt idx="26">
                  <c:v>Мурманская область</c:v>
                </c:pt>
                <c:pt idx="27">
                  <c:v>Новгородская область</c:v>
                </c:pt>
                <c:pt idx="28">
                  <c:v>Псковская область</c:v>
                </c:pt>
                <c:pt idx="29">
                  <c:v>г.Санкт-Петербург</c:v>
                </c:pt>
                <c:pt idx="30">
                  <c:v>Республика Адыгея</c:v>
                </c:pt>
                <c:pt idx="31">
                  <c:v>Республика Калмыкия</c:v>
                </c:pt>
                <c:pt idx="32">
                  <c:v>Республика Крым</c:v>
                </c:pt>
                <c:pt idx="33">
                  <c:v>Краснодарский край</c:v>
                </c:pt>
                <c:pt idx="34">
                  <c:v>Астраханская область</c:v>
                </c:pt>
                <c:pt idx="35">
                  <c:v>Волгоградская область</c:v>
                </c:pt>
                <c:pt idx="36">
                  <c:v>Ростовская область</c:v>
                </c:pt>
                <c:pt idx="37">
                  <c:v>г. Севастополь</c:v>
                </c:pt>
                <c:pt idx="38">
                  <c:v>Республика Дагестан</c:v>
                </c:pt>
                <c:pt idx="39">
                  <c:v>Республика Ингушетия</c:v>
                </c:pt>
                <c:pt idx="40">
                  <c:v>Кабардино-Балкарская Республика</c:v>
                </c:pt>
                <c:pt idx="41">
                  <c:v>Карачаево-Черкесская Республика</c:v>
                </c:pt>
                <c:pt idx="42">
                  <c:v>Республика Северная Осетия - Алания</c:v>
                </c:pt>
                <c:pt idx="43">
                  <c:v>Чеченская Республика</c:v>
                </c:pt>
                <c:pt idx="44">
                  <c:v>Ставропольский край</c:v>
                </c:pt>
                <c:pt idx="45">
                  <c:v>Республика Башкортостан</c:v>
                </c:pt>
                <c:pt idx="46">
                  <c:v>Республика Марий Эл</c:v>
                </c:pt>
                <c:pt idx="47">
                  <c:v>Республика Мордовия</c:v>
                </c:pt>
                <c:pt idx="48">
                  <c:v>Республика Татарстан</c:v>
                </c:pt>
                <c:pt idx="49">
                  <c:v>Удмуртская Республика</c:v>
                </c:pt>
                <c:pt idx="50">
                  <c:v>Чувашская Республика</c:v>
                </c:pt>
                <c:pt idx="51">
                  <c:v>Пермский край</c:v>
                </c:pt>
                <c:pt idx="52">
                  <c:v>Кировская область</c:v>
                </c:pt>
                <c:pt idx="53">
                  <c:v>Нижегородская область</c:v>
                </c:pt>
                <c:pt idx="54">
                  <c:v>Оренбургская область</c:v>
                </c:pt>
                <c:pt idx="55">
                  <c:v>Пензенская область</c:v>
                </c:pt>
                <c:pt idx="56">
                  <c:v>Самарская область</c:v>
                </c:pt>
                <c:pt idx="57">
                  <c:v>Саратовская область</c:v>
                </c:pt>
                <c:pt idx="58">
                  <c:v>Ульяновская область</c:v>
                </c:pt>
                <c:pt idx="59">
                  <c:v>Курганская область</c:v>
                </c:pt>
                <c:pt idx="60">
                  <c:v>Свердловская область</c:v>
                </c:pt>
                <c:pt idx="61">
                  <c:v>Ханты-Мансийский автономный округ-Югра</c:v>
                </c:pt>
                <c:pt idx="62">
                  <c:v>Ямало-Ненецкий автономный округ</c:v>
                </c:pt>
                <c:pt idx="63">
                  <c:v>Тюменская область (без автономных округов)</c:v>
                </c:pt>
                <c:pt idx="64">
                  <c:v>Челябинская область</c:v>
                </c:pt>
                <c:pt idx="65">
                  <c:v>Республика Бурятия</c:v>
                </c:pt>
                <c:pt idx="66">
                  <c:v>Республика Тыва</c:v>
                </c:pt>
                <c:pt idx="67">
                  <c:v>Алтайский край</c:v>
                </c:pt>
                <c:pt idx="68">
                  <c:v>Республика Алтай</c:v>
                </c:pt>
                <c:pt idx="69">
                  <c:v>Республика Хакассия</c:v>
                </c:pt>
                <c:pt idx="70">
                  <c:v>Красноярский край</c:v>
                </c:pt>
                <c:pt idx="71">
                  <c:v>Иркутская область</c:v>
                </c:pt>
                <c:pt idx="72">
                  <c:v>Кемеровская область</c:v>
                </c:pt>
                <c:pt idx="73">
                  <c:v>Новосибирская область</c:v>
                </c:pt>
                <c:pt idx="74">
                  <c:v>Омская область</c:v>
                </c:pt>
                <c:pt idx="75">
                  <c:v>Томская область</c:v>
                </c:pt>
                <c:pt idx="76">
                  <c:v>Камчатский край</c:v>
                </c:pt>
                <c:pt idx="77">
                  <c:v>Приморский край</c:v>
                </c:pt>
                <c:pt idx="78">
                  <c:v>Хабаровский край</c:v>
                </c:pt>
                <c:pt idx="79">
                  <c:v>Магаданская область</c:v>
                </c:pt>
                <c:pt idx="80">
                  <c:v>Сахалинская область</c:v>
                </c:pt>
                <c:pt idx="81">
                  <c:v>Еврейская автономная область</c:v>
                </c:pt>
                <c:pt idx="82">
                  <c:v>Чукотский автономный округ</c:v>
                </c:pt>
              </c:strCache>
            </c:strRef>
          </c:cat>
          <c:val>
            <c:numRef>
              <c:f>'Гостиницы и места'!$C$5:$C$95</c:f>
            </c:numRef>
          </c:val>
          <c:smooth val="0"/>
        </c:ser>
        <c:ser>
          <c:idx val="2"/>
          <c:order val="2"/>
          <c:tx>
            <c:strRef>
              <c:f>'Гостиницы и места'!$D$4</c:f>
              <c:strCache>
                <c:ptCount val="1"/>
                <c:pt idx="0">
                  <c:v>2015</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Гостиницы и места'!$A$5:$A$95</c:f>
              <c:strCache>
                <c:ptCount val="83"/>
                <c:pt idx="0">
                  <c:v>Белгородская область</c:v>
                </c:pt>
                <c:pt idx="1">
                  <c:v>Брянская область</c:v>
                </c:pt>
                <c:pt idx="2">
                  <c:v>Владимирская область</c:v>
                </c:pt>
                <c:pt idx="3">
                  <c:v>Воронежская область</c:v>
                </c:pt>
                <c:pt idx="4">
                  <c:v>Ивановская область</c:v>
                </c:pt>
                <c:pt idx="5">
                  <c:v>Калужская область</c:v>
                </c:pt>
                <c:pt idx="6">
                  <c:v>Костромская область</c:v>
                </c:pt>
                <c:pt idx="7">
                  <c:v>Курская область</c:v>
                </c:pt>
                <c:pt idx="8">
                  <c:v>Липецкая область</c:v>
                </c:pt>
                <c:pt idx="9">
                  <c:v>Московская область</c:v>
                </c:pt>
                <c:pt idx="10">
                  <c:v>Орловская область</c:v>
                </c:pt>
                <c:pt idx="11">
                  <c:v>Рязанская область</c:v>
                </c:pt>
                <c:pt idx="12">
                  <c:v>Смоленская область</c:v>
                </c:pt>
                <c:pt idx="13">
                  <c:v>Тамбовская область</c:v>
                </c:pt>
                <c:pt idx="14">
                  <c:v>Тверская область</c:v>
                </c:pt>
                <c:pt idx="15">
                  <c:v>Тульская область</c:v>
                </c:pt>
                <c:pt idx="16">
                  <c:v>Ярославская область</c:v>
                </c:pt>
                <c:pt idx="17">
                  <c:v>г.Москва</c:v>
                </c:pt>
                <c:pt idx="18">
                  <c:v>Республика Карелия</c:v>
                </c:pt>
                <c:pt idx="19">
                  <c:v>Республика Коми</c:v>
                </c:pt>
                <c:pt idx="20">
                  <c:v>Архангельская область</c:v>
                </c:pt>
                <c:pt idx="21">
                  <c:v>Ненецкий автономный округ</c:v>
                </c:pt>
                <c:pt idx="22">
                  <c:v>Архангельская область (без автономного округа)</c:v>
                </c:pt>
                <c:pt idx="23">
                  <c:v>Вологодская область</c:v>
                </c:pt>
                <c:pt idx="24">
                  <c:v>Калининградская область</c:v>
                </c:pt>
                <c:pt idx="25">
                  <c:v>Ленинградская область</c:v>
                </c:pt>
                <c:pt idx="26">
                  <c:v>Мурманская область</c:v>
                </c:pt>
                <c:pt idx="27">
                  <c:v>Новгородская область</c:v>
                </c:pt>
                <c:pt idx="28">
                  <c:v>Псковская область</c:v>
                </c:pt>
                <c:pt idx="29">
                  <c:v>г.Санкт-Петербург</c:v>
                </c:pt>
                <c:pt idx="30">
                  <c:v>Республика Адыгея</c:v>
                </c:pt>
                <c:pt idx="31">
                  <c:v>Республика Калмыкия</c:v>
                </c:pt>
                <c:pt idx="32">
                  <c:v>Республика Крым</c:v>
                </c:pt>
                <c:pt idx="33">
                  <c:v>Краснодарский край</c:v>
                </c:pt>
                <c:pt idx="34">
                  <c:v>Астраханская область</c:v>
                </c:pt>
                <c:pt idx="35">
                  <c:v>Волгоградская область</c:v>
                </c:pt>
                <c:pt idx="36">
                  <c:v>Ростовская область</c:v>
                </c:pt>
                <c:pt idx="37">
                  <c:v>г. Севастополь</c:v>
                </c:pt>
                <c:pt idx="38">
                  <c:v>Республика Дагестан</c:v>
                </c:pt>
                <c:pt idx="39">
                  <c:v>Республика Ингушетия</c:v>
                </c:pt>
                <c:pt idx="40">
                  <c:v>Кабардино-Балкарская Республика</c:v>
                </c:pt>
                <c:pt idx="41">
                  <c:v>Карачаево-Черкесская Республика</c:v>
                </c:pt>
                <c:pt idx="42">
                  <c:v>Республика Северная Осетия - Алания</c:v>
                </c:pt>
                <c:pt idx="43">
                  <c:v>Чеченская Республика</c:v>
                </c:pt>
                <c:pt idx="44">
                  <c:v>Ставропольский край</c:v>
                </c:pt>
                <c:pt idx="45">
                  <c:v>Республика Башкортостан</c:v>
                </c:pt>
                <c:pt idx="46">
                  <c:v>Республика Марий Эл</c:v>
                </c:pt>
                <c:pt idx="47">
                  <c:v>Республика Мордовия</c:v>
                </c:pt>
                <c:pt idx="48">
                  <c:v>Республика Татарстан</c:v>
                </c:pt>
                <c:pt idx="49">
                  <c:v>Удмуртская Республика</c:v>
                </c:pt>
                <c:pt idx="50">
                  <c:v>Чувашская Республика</c:v>
                </c:pt>
                <c:pt idx="51">
                  <c:v>Пермский край</c:v>
                </c:pt>
                <c:pt idx="52">
                  <c:v>Кировская область</c:v>
                </c:pt>
                <c:pt idx="53">
                  <c:v>Нижегородская область</c:v>
                </c:pt>
                <c:pt idx="54">
                  <c:v>Оренбургская область</c:v>
                </c:pt>
                <c:pt idx="55">
                  <c:v>Пензенская область</c:v>
                </c:pt>
                <c:pt idx="56">
                  <c:v>Самарская область</c:v>
                </c:pt>
                <c:pt idx="57">
                  <c:v>Саратовская область</c:v>
                </c:pt>
                <c:pt idx="58">
                  <c:v>Ульяновская область</c:v>
                </c:pt>
                <c:pt idx="59">
                  <c:v>Курганская область</c:v>
                </c:pt>
                <c:pt idx="60">
                  <c:v>Свердловская область</c:v>
                </c:pt>
                <c:pt idx="61">
                  <c:v>Ханты-Мансийский автономный округ-Югра</c:v>
                </c:pt>
                <c:pt idx="62">
                  <c:v>Ямало-Ненецкий автономный округ</c:v>
                </c:pt>
                <c:pt idx="63">
                  <c:v>Тюменская область (без автономных округов)</c:v>
                </c:pt>
                <c:pt idx="64">
                  <c:v>Челябинская область</c:v>
                </c:pt>
                <c:pt idx="65">
                  <c:v>Республика Бурятия</c:v>
                </c:pt>
                <c:pt idx="66">
                  <c:v>Республика Тыва</c:v>
                </c:pt>
                <c:pt idx="67">
                  <c:v>Алтайский край</c:v>
                </c:pt>
                <c:pt idx="68">
                  <c:v>Республика Алтай</c:v>
                </c:pt>
                <c:pt idx="69">
                  <c:v>Республика Хакассия</c:v>
                </c:pt>
                <c:pt idx="70">
                  <c:v>Красноярский край</c:v>
                </c:pt>
                <c:pt idx="71">
                  <c:v>Иркутская область</c:v>
                </c:pt>
                <c:pt idx="72">
                  <c:v>Кемеровская область</c:v>
                </c:pt>
                <c:pt idx="73">
                  <c:v>Новосибирская область</c:v>
                </c:pt>
                <c:pt idx="74">
                  <c:v>Омская область</c:v>
                </c:pt>
                <c:pt idx="75">
                  <c:v>Томская область</c:v>
                </c:pt>
                <c:pt idx="76">
                  <c:v>Камчатский край</c:v>
                </c:pt>
                <c:pt idx="77">
                  <c:v>Приморский край</c:v>
                </c:pt>
                <c:pt idx="78">
                  <c:v>Хабаровский край</c:v>
                </c:pt>
                <c:pt idx="79">
                  <c:v>Магаданская область</c:v>
                </c:pt>
                <c:pt idx="80">
                  <c:v>Сахалинская область</c:v>
                </c:pt>
                <c:pt idx="81">
                  <c:v>Еврейская автономная область</c:v>
                </c:pt>
                <c:pt idx="82">
                  <c:v>Чукотский автономный округ</c:v>
                </c:pt>
              </c:strCache>
            </c:strRef>
          </c:cat>
          <c:val>
            <c:numRef>
              <c:f>'Гостиницы и места'!$D$5:$D$95</c:f>
            </c:numRef>
          </c:val>
          <c:smooth val="0"/>
        </c:ser>
        <c:ser>
          <c:idx val="3"/>
          <c:order val="3"/>
          <c:tx>
            <c:strRef>
              <c:f>'Гостиницы и места'!$E$4</c:f>
              <c:strCache>
                <c:ptCount val="1"/>
                <c:pt idx="0">
                  <c:v>2015</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Гостиницы и места'!$A$5:$A$95</c:f>
              <c:strCache>
                <c:ptCount val="83"/>
                <c:pt idx="0">
                  <c:v>Белгородская область</c:v>
                </c:pt>
                <c:pt idx="1">
                  <c:v>Брянская область</c:v>
                </c:pt>
                <c:pt idx="2">
                  <c:v>Владимирская область</c:v>
                </c:pt>
                <c:pt idx="3">
                  <c:v>Воронежская область</c:v>
                </c:pt>
                <c:pt idx="4">
                  <c:v>Ивановская область</c:v>
                </c:pt>
                <c:pt idx="5">
                  <c:v>Калужская область</c:v>
                </c:pt>
                <c:pt idx="6">
                  <c:v>Костромская область</c:v>
                </c:pt>
                <c:pt idx="7">
                  <c:v>Курская область</c:v>
                </c:pt>
                <c:pt idx="8">
                  <c:v>Липецкая область</c:v>
                </c:pt>
                <c:pt idx="9">
                  <c:v>Московская область</c:v>
                </c:pt>
                <c:pt idx="10">
                  <c:v>Орловская область</c:v>
                </c:pt>
                <c:pt idx="11">
                  <c:v>Рязанская область</c:v>
                </c:pt>
                <c:pt idx="12">
                  <c:v>Смоленская область</c:v>
                </c:pt>
                <c:pt idx="13">
                  <c:v>Тамбовская область</c:v>
                </c:pt>
                <c:pt idx="14">
                  <c:v>Тверская область</c:v>
                </c:pt>
                <c:pt idx="15">
                  <c:v>Тульская область</c:v>
                </c:pt>
                <c:pt idx="16">
                  <c:v>Ярославская область</c:v>
                </c:pt>
                <c:pt idx="17">
                  <c:v>г.Москва</c:v>
                </c:pt>
                <c:pt idx="18">
                  <c:v>Республика Карелия</c:v>
                </c:pt>
                <c:pt idx="19">
                  <c:v>Республика Коми</c:v>
                </c:pt>
                <c:pt idx="20">
                  <c:v>Архангельская область</c:v>
                </c:pt>
                <c:pt idx="21">
                  <c:v>Ненецкий автономный округ</c:v>
                </c:pt>
                <c:pt idx="22">
                  <c:v>Архангельская область (без автономного округа)</c:v>
                </c:pt>
                <c:pt idx="23">
                  <c:v>Вологодская область</c:v>
                </c:pt>
                <c:pt idx="24">
                  <c:v>Калининградская область</c:v>
                </c:pt>
                <c:pt idx="25">
                  <c:v>Ленинградская область</c:v>
                </c:pt>
                <c:pt idx="26">
                  <c:v>Мурманская область</c:v>
                </c:pt>
                <c:pt idx="27">
                  <c:v>Новгородская область</c:v>
                </c:pt>
                <c:pt idx="28">
                  <c:v>Псковская область</c:v>
                </c:pt>
                <c:pt idx="29">
                  <c:v>г.Санкт-Петербург</c:v>
                </c:pt>
                <c:pt idx="30">
                  <c:v>Республика Адыгея</c:v>
                </c:pt>
                <c:pt idx="31">
                  <c:v>Республика Калмыкия</c:v>
                </c:pt>
                <c:pt idx="32">
                  <c:v>Республика Крым</c:v>
                </c:pt>
                <c:pt idx="33">
                  <c:v>Краснодарский край</c:v>
                </c:pt>
                <c:pt idx="34">
                  <c:v>Астраханская область</c:v>
                </c:pt>
                <c:pt idx="35">
                  <c:v>Волгоградская область</c:v>
                </c:pt>
                <c:pt idx="36">
                  <c:v>Ростовская область</c:v>
                </c:pt>
                <c:pt idx="37">
                  <c:v>г. Севастополь</c:v>
                </c:pt>
                <c:pt idx="38">
                  <c:v>Республика Дагестан</c:v>
                </c:pt>
                <c:pt idx="39">
                  <c:v>Республика Ингушетия</c:v>
                </c:pt>
                <c:pt idx="40">
                  <c:v>Кабардино-Балкарская Республика</c:v>
                </c:pt>
                <c:pt idx="41">
                  <c:v>Карачаево-Черкесская Республика</c:v>
                </c:pt>
                <c:pt idx="42">
                  <c:v>Республика Северная Осетия - Алания</c:v>
                </c:pt>
                <c:pt idx="43">
                  <c:v>Чеченская Республика</c:v>
                </c:pt>
                <c:pt idx="44">
                  <c:v>Ставропольский край</c:v>
                </c:pt>
                <c:pt idx="45">
                  <c:v>Республика Башкортостан</c:v>
                </c:pt>
                <c:pt idx="46">
                  <c:v>Республика Марий Эл</c:v>
                </c:pt>
                <c:pt idx="47">
                  <c:v>Республика Мордовия</c:v>
                </c:pt>
                <c:pt idx="48">
                  <c:v>Республика Татарстан</c:v>
                </c:pt>
                <c:pt idx="49">
                  <c:v>Удмуртская Республика</c:v>
                </c:pt>
                <c:pt idx="50">
                  <c:v>Чувашская Республика</c:v>
                </c:pt>
                <c:pt idx="51">
                  <c:v>Пермский край</c:v>
                </c:pt>
                <c:pt idx="52">
                  <c:v>Кировская область</c:v>
                </c:pt>
                <c:pt idx="53">
                  <c:v>Нижегородская область</c:v>
                </c:pt>
                <c:pt idx="54">
                  <c:v>Оренбургская область</c:v>
                </c:pt>
                <c:pt idx="55">
                  <c:v>Пензенская область</c:v>
                </c:pt>
                <c:pt idx="56">
                  <c:v>Самарская область</c:v>
                </c:pt>
                <c:pt idx="57">
                  <c:v>Саратовская область</c:v>
                </c:pt>
                <c:pt idx="58">
                  <c:v>Ульяновская область</c:v>
                </c:pt>
                <c:pt idx="59">
                  <c:v>Курганская область</c:v>
                </c:pt>
                <c:pt idx="60">
                  <c:v>Свердловская область</c:v>
                </c:pt>
                <c:pt idx="61">
                  <c:v>Ханты-Мансийский автономный округ-Югра</c:v>
                </c:pt>
                <c:pt idx="62">
                  <c:v>Ямало-Ненецкий автономный округ</c:v>
                </c:pt>
                <c:pt idx="63">
                  <c:v>Тюменская область (без автономных округов)</c:v>
                </c:pt>
                <c:pt idx="64">
                  <c:v>Челябинская область</c:v>
                </c:pt>
                <c:pt idx="65">
                  <c:v>Республика Бурятия</c:v>
                </c:pt>
                <c:pt idx="66">
                  <c:v>Республика Тыва</c:v>
                </c:pt>
                <c:pt idx="67">
                  <c:v>Алтайский край</c:v>
                </c:pt>
                <c:pt idx="68">
                  <c:v>Республика Алтай</c:v>
                </c:pt>
                <c:pt idx="69">
                  <c:v>Республика Хакассия</c:v>
                </c:pt>
                <c:pt idx="70">
                  <c:v>Красноярский край</c:v>
                </c:pt>
                <c:pt idx="71">
                  <c:v>Иркутская область</c:v>
                </c:pt>
                <c:pt idx="72">
                  <c:v>Кемеровская область</c:v>
                </c:pt>
                <c:pt idx="73">
                  <c:v>Новосибирская область</c:v>
                </c:pt>
                <c:pt idx="74">
                  <c:v>Омская область</c:v>
                </c:pt>
                <c:pt idx="75">
                  <c:v>Томская область</c:v>
                </c:pt>
                <c:pt idx="76">
                  <c:v>Камчатский край</c:v>
                </c:pt>
                <c:pt idx="77">
                  <c:v>Приморский край</c:v>
                </c:pt>
                <c:pt idx="78">
                  <c:v>Хабаровский край</c:v>
                </c:pt>
                <c:pt idx="79">
                  <c:v>Магаданская область</c:v>
                </c:pt>
                <c:pt idx="80">
                  <c:v>Сахалинская область</c:v>
                </c:pt>
                <c:pt idx="81">
                  <c:v>Еврейская автономная область</c:v>
                </c:pt>
                <c:pt idx="82">
                  <c:v>Чукотский автономный округ</c:v>
                </c:pt>
              </c:strCache>
            </c:strRef>
          </c:cat>
          <c:val>
            <c:numRef>
              <c:f>'Гостиницы и места'!$E$5:$E$95</c:f>
            </c:numRef>
          </c:val>
          <c:smooth val="0"/>
        </c:ser>
        <c:ser>
          <c:idx val="4"/>
          <c:order val="4"/>
          <c:tx>
            <c:strRef>
              <c:f>'Гостиницы и места'!$F$4</c:f>
              <c:strCache>
                <c:ptCount val="1"/>
                <c:pt idx="0">
                  <c:v>Гостиниц</c:v>
                </c:pt>
              </c:strCache>
            </c:strRef>
          </c:tx>
          <c:spPr>
            <a:ln w="28575" cap="rnd">
              <a:solidFill>
                <a:srgbClr val="FF0000"/>
              </a:solidFill>
              <a:round/>
            </a:ln>
            <a:effectLst/>
          </c:spPr>
          <c:marker>
            <c:symbol val="none"/>
          </c:marker>
          <c:cat>
            <c:strRef>
              <c:f>'Гостиницы и места'!$A$5:$A$95</c:f>
              <c:strCache>
                <c:ptCount val="83"/>
                <c:pt idx="0">
                  <c:v>Белгородская область</c:v>
                </c:pt>
                <c:pt idx="1">
                  <c:v>Брянская область</c:v>
                </c:pt>
                <c:pt idx="2">
                  <c:v>Владимирская область</c:v>
                </c:pt>
                <c:pt idx="3">
                  <c:v>Воронежская область</c:v>
                </c:pt>
                <c:pt idx="4">
                  <c:v>Ивановская область</c:v>
                </c:pt>
                <c:pt idx="5">
                  <c:v>Калужская область</c:v>
                </c:pt>
                <c:pt idx="6">
                  <c:v>Костромская область</c:v>
                </c:pt>
                <c:pt idx="7">
                  <c:v>Курская область</c:v>
                </c:pt>
                <c:pt idx="8">
                  <c:v>Липецкая область</c:v>
                </c:pt>
                <c:pt idx="9">
                  <c:v>Московская область</c:v>
                </c:pt>
                <c:pt idx="10">
                  <c:v>Орловская область</c:v>
                </c:pt>
                <c:pt idx="11">
                  <c:v>Рязанская область</c:v>
                </c:pt>
                <c:pt idx="12">
                  <c:v>Смоленская область</c:v>
                </c:pt>
                <c:pt idx="13">
                  <c:v>Тамбовская область</c:v>
                </c:pt>
                <c:pt idx="14">
                  <c:v>Тверская область</c:v>
                </c:pt>
                <c:pt idx="15">
                  <c:v>Тульская область</c:v>
                </c:pt>
                <c:pt idx="16">
                  <c:v>Ярославская область</c:v>
                </c:pt>
                <c:pt idx="17">
                  <c:v>г.Москва</c:v>
                </c:pt>
                <c:pt idx="18">
                  <c:v>Республика Карелия</c:v>
                </c:pt>
                <c:pt idx="19">
                  <c:v>Республика Коми</c:v>
                </c:pt>
                <c:pt idx="20">
                  <c:v>Архангельская область</c:v>
                </c:pt>
                <c:pt idx="21">
                  <c:v>Ненецкий автономный округ</c:v>
                </c:pt>
                <c:pt idx="22">
                  <c:v>Архангельская область (без автономного округа)</c:v>
                </c:pt>
                <c:pt idx="23">
                  <c:v>Вологодская область</c:v>
                </c:pt>
                <c:pt idx="24">
                  <c:v>Калининградская область</c:v>
                </c:pt>
                <c:pt idx="25">
                  <c:v>Ленинградская область</c:v>
                </c:pt>
                <c:pt idx="26">
                  <c:v>Мурманская область</c:v>
                </c:pt>
                <c:pt idx="27">
                  <c:v>Новгородская область</c:v>
                </c:pt>
                <c:pt idx="28">
                  <c:v>Псковская область</c:v>
                </c:pt>
                <c:pt idx="29">
                  <c:v>г.Санкт-Петербург</c:v>
                </c:pt>
                <c:pt idx="30">
                  <c:v>Республика Адыгея</c:v>
                </c:pt>
                <c:pt idx="31">
                  <c:v>Республика Калмыкия</c:v>
                </c:pt>
                <c:pt idx="32">
                  <c:v>Республика Крым</c:v>
                </c:pt>
                <c:pt idx="33">
                  <c:v>Краснодарский край</c:v>
                </c:pt>
                <c:pt idx="34">
                  <c:v>Астраханская область</c:v>
                </c:pt>
                <c:pt idx="35">
                  <c:v>Волгоградская область</c:v>
                </c:pt>
                <c:pt idx="36">
                  <c:v>Ростовская область</c:v>
                </c:pt>
                <c:pt idx="37">
                  <c:v>г. Севастополь</c:v>
                </c:pt>
                <c:pt idx="38">
                  <c:v>Республика Дагестан</c:v>
                </c:pt>
                <c:pt idx="39">
                  <c:v>Республика Ингушетия</c:v>
                </c:pt>
                <c:pt idx="40">
                  <c:v>Кабардино-Балкарская Республика</c:v>
                </c:pt>
                <c:pt idx="41">
                  <c:v>Карачаево-Черкесская Республика</c:v>
                </c:pt>
                <c:pt idx="42">
                  <c:v>Республика Северная Осетия - Алания</c:v>
                </c:pt>
                <c:pt idx="43">
                  <c:v>Чеченская Республика</c:v>
                </c:pt>
                <c:pt idx="44">
                  <c:v>Ставропольский край</c:v>
                </c:pt>
                <c:pt idx="45">
                  <c:v>Республика Башкортостан</c:v>
                </c:pt>
                <c:pt idx="46">
                  <c:v>Республика Марий Эл</c:v>
                </c:pt>
                <c:pt idx="47">
                  <c:v>Республика Мордовия</c:v>
                </c:pt>
                <c:pt idx="48">
                  <c:v>Республика Татарстан</c:v>
                </c:pt>
                <c:pt idx="49">
                  <c:v>Удмуртская Республика</c:v>
                </c:pt>
                <c:pt idx="50">
                  <c:v>Чувашская Республика</c:v>
                </c:pt>
                <c:pt idx="51">
                  <c:v>Пермский край</c:v>
                </c:pt>
                <c:pt idx="52">
                  <c:v>Кировская область</c:v>
                </c:pt>
                <c:pt idx="53">
                  <c:v>Нижегородская область</c:v>
                </c:pt>
                <c:pt idx="54">
                  <c:v>Оренбургская область</c:v>
                </c:pt>
                <c:pt idx="55">
                  <c:v>Пензенская область</c:v>
                </c:pt>
                <c:pt idx="56">
                  <c:v>Самарская область</c:v>
                </c:pt>
                <c:pt idx="57">
                  <c:v>Саратовская область</c:v>
                </c:pt>
                <c:pt idx="58">
                  <c:v>Ульяновская область</c:v>
                </c:pt>
                <c:pt idx="59">
                  <c:v>Курганская область</c:v>
                </c:pt>
                <c:pt idx="60">
                  <c:v>Свердловская область</c:v>
                </c:pt>
                <c:pt idx="61">
                  <c:v>Ханты-Мансийский автономный округ-Югра</c:v>
                </c:pt>
                <c:pt idx="62">
                  <c:v>Ямало-Ненецкий автономный округ</c:v>
                </c:pt>
                <c:pt idx="63">
                  <c:v>Тюменская область (без автономных округов)</c:v>
                </c:pt>
                <c:pt idx="64">
                  <c:v>Челябинская область</c:v>
                </c:pt>
                <c:pt idx="65">
                  <c:v>Республика Бурятия</c:v>
                </c:pt>
                <c:pt idx="66">
                  <c:v>Республика Тыва</c:v>
                </c:pt>
                <c:pt idx="67">
                  <c:v>Алтайский край</c:v>
                </c:pt>
                <c:pt idx="68">
                  <c:v>Республика Алтай</c:v>
                </c:pt>
                <c:pt idx="69">
                  <c:v>Республика Хакассия</c:v>
                </c:pt>
                <c:pt idx="70">
                  <c:v>Красноярский край</c:v>
                </c:pt>
                <c:pt idx="71">
                  <c:v>Иркутская область</c:v>
                </c:pt>
                <c:pt idx="72">
                  <c:v>Кемеровская область</c:v>
                </c:pt>
                <c:pt idx="73">
                  <c:v>Новосибирская область</c:v>
                </c:pt>
                <c:pt idx="74">
                  <c:v>Омская область</c:v>
                </c:pt>
                <c:pt idx="75">
                  <c:v>Томская область</c:v>
                </c:pt>
                <c:pt idx="76">
                  <c:v>Камчатский край</c:v>
                </c:pt>
                <c:pt idx="77">
                  <c:v>Приморский край</c:v>
                </c:pt>
                <c:pt idx="78">
                  <c:v>Хабаровский край</c:v>
                </c:pt>
                <c:pt idx="79">
                  <c:v>Магаданская область</c:v>
                </c:pt>
                <c:pt idx="80">
                  <c:v>Сахалинская область</c:v>
                </c:pt>
                <c:pt idx="81">
                  <c:v>Еврейская автономная область</c:v>
                </c:pt>
                <c:pt idx="82">
                  <c:v>Чукотский автономный округ</c:v>
                </c:pt>
              </c:strCache>
            </c:strRef>
          </c:cat>
          <c:val>
            <c:numRef>
              <c:f>'Гостиницы и места'!$F$5:$F$95</c:f>
              <c:numCache>
                <c:formatCode>General</c:formatCode>
                <c:ptCount val="83"/>
                <c:pt idx="0">
                  <c:v>87</c:v>
                </c:pt>
                <c:pt idx="1">
                  <c:v>73</c:v>
                </c:pt>
                <c:pt idx="2">
                  <c:v>197</c:v>
                </c:pt>
                <c:pt idx="3">
                  <c:v>175</c:v>
                </c:pt>
                <c:pt idx="4">
                  <c:v>52</c:v>
                </c:pt>
                <c:pt idx="5">
                  <c:v>128</c:v>
                </c:pt>
                <c:pt idx="6">
                  <c:v>52</c:v>
                </c:pt>
                <c:pt idx="7">
                  <c:v>78</c:v>
                </c:pt>
                <c:pt idx="8">
                  <c:v>63</c:v>
                </c:pt>
                <c:pt idx="9">
                  <c:v>326</c:v>
                </c:pt>
                <c:pt idx="10">
                  <c:v>49</c:v>
                </c:pt>
                <c:pt idx="11">
                  <c:v>89</c:v>
                </c:pt>
                <c:pt idx="12">
                  <c:v>94</c:v>
                </c:pt>
                <c:pt idx="13">
                  <c:v>57</c:v>
                </c:pt>
                <c:pt idx="14">
                  <c:v>130</c:v>
                </c:pt>
                <c:pt idx="15">
                  <c:v>106</c:v>
                </c:pt>
                <c:pt idx="16">
                  <c:v>147</c:v>
                </c:pt>
                <c:pt idx="17">
                  <c:v>670</c:v>
                </c:pt>
                <c:pt idx="18">
                  <c:v>144</c:v>
                </c:pt>
                <c:pt idx="19">
                  <c:v>106</c:v>
                </c:pt>
                <c:pt idx="20">
                  <c:v>148</c:v>
                </c:pt>
                <c:pt idx="21">
                  <c:v>7</c:v>
                </c:pt>
                <c:pt idx="22">
                  <c:v>141</c:v>
                </c:pt>
                <c:pt idx="23">
                  <c:v>154</c:v>
                </c:pt>
                <c:pt idx="24">
                  <c:v>175</c:v>
                </c:pt>
                <c:pt idx="25">
                  <c:v>178</c:v>
                </c:pt>
                <c:pt idx="26">
                  <c:v>93</c:v>
                </c:pt>
                <c:pt idx="27">
                  <c:v>84</c:v>
                </c:pt>
                <c:pt idx="28">
                  <c:v>73</c:v>
                </c:pt>
                <c:pt idx="29">
                  <c:v>367</c:v>
                </c:pt>
                <c:pt idx="30">
                  <c:v>43</c:v>
                </c:pt>
                <c:pt idx="31">
                  <c:v>22</c:v>
                </c:pt>
                <c:pt idx="32">
                  <c:v>550</c:v>
                </c:pt>
                <c:pt idx="33">
                  <c:v>1982</c:v>
                </c:pt>
                <c:pt idx="34">
                  <c:v>171</c:v>
                </c:pt>
                <c:pt idx="35">
                  <c:v>242</c:v>
                </c:pt>
                <c:pt idx="36">
                  <c:v>362</c:v>
                </c:pt>
                <c:pt idx="37">
                  <c:v>159</c:v>
                </c:pt>
                <c:pt idx="38">
                  <c:v>64</c:v>
                </c:pt>
                <c:pt idx="39">
                  <c:v>2</c:v>
                </c:pt>
                <c:pt idx="40">
                  <c:v>89</c:v>
                </c:pt>
                <c:pt idx="41">
                  <c:v>70</c:v>
                </c:pt>
                <c:pt idx="42">
                  <c:v>16</c:v>
                </c:pt>
                <c:pt idx="43">
                  <c:v>13</c:v>
                </c:pt>
                <c:pt idx="44">
                  <c:v>244</c:v>
                </c:pt>
                <c:pt idx="45">
                  <c:v>251</c:v>
                </c:pt>
                <c:pt idx="46">
                  <c:v>30</c:v>
                </c:pt>
                <c:pt idx="47">
                  <c:v>40</c:v>
                </c:pt>
                <c:pt idx="48">
                  <c:v>288</c:v>
                </c:pt>
                <c:pt idx="49">
                  <c:v>124</c:v>
                </c:pt>
                <c:pt idx="50">
                  <c:v>87</c:v>
                </c:pt>
                <c:pt idx="51">
                  <c:v>219</c:v>
                </c:pt>
                <c:pt idx="52">
                  <c:v>111</c:v>
                </c:pt>
                <c:pt idx="53">
                  <c:v>351</c:v>
                </c:pt>
                <c:pt idx="54">
                  <c:v>199</c:v>
                </c:pt>
                <c:pt idx="55">
                  <c:v>98</c:v>
                </c:pt>
                <c:pt idx="56">
                  <c:v>229</c:v>
                </c:pt>
                <c:pt idx="57">
                  <c:v>131</c:v>
                </c:pt>
                <c:pt idx="58">
                  <c:v>59</c:v>
                </c:pt>
                <c:pt idx="59">
                  <c:v>68</c:v>
                </c:pt>
                <c:pt idx="60">
                  <c:v>304</c:v>
                </c:pt>
                <c:pt idx="61">
                  <c:v>201</c:v>
                </c:pt>
                <c:pt idx="62">
                  <c:v>81</c:v>
                </c:pt>
                <c:pt idx="63">
                  <c:v>138</c:v>
                </c:pt>
                <c:pt idx="64">
                  <c:v>184</c:v>
                </c:pt>
                <c:pt idx="65">
                  <c:v>241</c:v>
                </c:pt>
                <c:pt idx="66">
                  <c:v>20</c:v>
                </c:pt>
                <c:pt idx="67">
                  <c:v>233</c:v>
                </c:pt>
                <c:pt idx="68">
                  <c:v>120</c:v>
                </c:pt>
                <c:pt idx="69">
                  <c:v>50</c:v>
                </c:pt>
                <c:pt idx="70">
                  <c:v>180</c:v>
                </c:pt>
                <c:pt idx="71">
                  <c:v>150</c:v>
                </c:pt>
                <c:pt idx="72">
                  <c:v>180</c:v>
                </c:pt>
                <c:pt idx="73">
                  <c:v>150</c:v>
                </c:pt>
                <c:pt idx="74">
                  <c:v>150</c:v>
                </c:pt>
                <c:pt idx="75">
                  <c:v>67</c:v>
                </c:pt>
                <c:pt idx="76">
                  <c:v>46</c:v>
                </c:pt>
                <c:pt idx="77">
                  <c:v>249</c:v>
                </c:pt>
                <c:pt idx="78">
                  <c:v>188</c:v>
                </c:pt>
                <c:pt idx="79">
                  <c:v>24</c:v>
                </c:pt>
                <c:pt idx="80">
                  <c:v>65</c:v>
                </c:pt>
                <c:pt idx="81">
                  <c:v>14</c:v>
                </c:pt>
                <c:pt idx="82">
                  <c:v>11</c:v>
                </c:pt>
              </c:numCache>
            </c:numRef>
          </c:val>
          <c:smooth val="0"/>
        </c:ser>
        <c:ser>
          <c:idx val="5"/>
          <c:order val="5"/>
          <c:tx>
            <c:strRef>
              <c:f>'Гостиницы и места'!$G$4</c:f>
              <c:strCache>
                <c:ptCount val="1"/>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cat>
            <c:strRef>
              <c:f>'Гостиницы и места'!$A$5:$A$95</c:f>
              <c:strCache>
                <c:ptCount val="83"/>
                <c:pt idx="0">
                  <c:v>Белгородская область</c:v>
                </c:pt>
                <c:pt idx="1">
                  <c:v>Брянская область</c:v>
                </c:pt>
                <c:pt idx="2">
                  <c:v>Владимирская область</c:v>
                </c:pt>
                <c:pt idx="3">
                  <c:v>Воронежская область</c:v>
                </c:pt>
                <c:pt idx="4">
                  <c:v>Ивановская область</c:v>
                </c:pt>
                <c:pt idx="5">
                  <c:v>Калужская область</c:v>
                </c:pt>
                <c:pt idx="6">
                  <c:v>Костромская область</c:v>
                </c:pt>
                <c:pt idx="7">
                  <c:v>Курская область</c:v>
                </c:pt>
                <c:pt idx="8">
                  <c:v>Липецкая область</c:v>
                </c:pt>
                <c:pt idx="9">
                  <c:v>Московская область</c:v>
                </c:pt>
                <c:pt idx="10">
                  <c:v>Орловская область</c:v>
                </c:pt>
                <c:pt idx="11">
                  <c:v>Рязанская область</c:v>
                </c:pt>
                <c:pt idx="12">
                  <c:v>Смоленская область</c:v>
                </c:pt>
                <c:pt idx="13">
                  <c:v>Тамбовская область</c:v>
                </c:pt>
                <c:pt idx="14">
                  <c:v>Тверская область</c:v>
                </c:pt>
                <c:pt idx="15">
                  <c:v>Тульская область</c:v>
                </c:pt>
                <c:pt idx="16">
                  <c:v>Ярославская область</c:v>
                </c:pt>
                <c:pt idx="17">
                  <c:v>г.Москва</c:v>
                </c:pt>
                <c:pt idx="18">
                  <c:v>Республика Карелия</c:v>
                </c:pt>
                <c:pt idx="19">
                  <c:v>Республика Коми</c:v>
                </c:pt>
                <c:pt idx="20">
                  <c:v>Архангельская область</c:v>
                </c:pt>
                <c:pt idx="21">
                  <c:v>Ненецкий автономный округ</c:v>
                </c:pt>
                <c:pt idx="22">
                  <c:v>Архангельская область (без автономного округа)</c:v>
                </c:pt>
                <c:pt idx="23">
                  <c:v>Вологодская область</c:v>
                </c:pt>
                <c:pt idx="24">
                  <c:v>Калининградская область</c:v>
                </c:pt>
                <c:pt idx="25">
                  <c:v>Ленинградская область</c:v>
                </c:pt>
                <c:pt idx="26">
                  <c:v>Мурманская область</c:v>
                </c:pt>
                <c:pt idx="27">
                  <c:v>Новгородская область</c:v>
                </c:pt>
                <c:pt idx="28">
                  <c:v>Псковская область</c:v>
                </c:pt>
                <c:pt idx="29">
                  <c:v>г.Санкт-Петербург</c:v>
                </c:pt>
                <c:pt idx="30">
                  <c:v>Республика Адыгея</c:v>
                </c:pt>
                <c:pt idx="31">
                  <c:v>Республика Калмыкия</c:v>
                </c:pt>
                <c:pt idx="32">
                  <c:v>Республика Крым</c:v>
                </c:pt>
                <c:pt idx="33">
                  <c:v>Краснодарский край</c:v>
                </c:pt>
                <c:pt idx="34">
                  <c:v>Астраханская область</c:v>
                </c:pt>
                <c:pt idx="35">
                  <c:v>Волгоградская область</c:v>
                </c:pt>
                <c:pt idx="36">
                  <c:v>Ростовская область</c:v>
                </c:pt>
                <c:pt idx="37">
                  <c:v>г. Севастополь</c:v>
                </c:pt>
                <c:pt idx="38">
                  <c:v>Республика Дагестан</c:v>
                </c:pt>
                <c:pt idx="39">
                  <c:v>Республика Ингушетия</c:v>
                </c:pt>
                <c:pt idx="40">
                  <c:v>Кабардино-Балкарская Республика</c:v>
                </c:pt>
                <c:pt idx="41">
                  <c:v>Карачаево-Черкесская Республика</c:v>
                </c:pt>
                <c:pt idx="42">
                  <c:v>Республика Северная Осетия - Алания</c:v>
                </c:pt>
                <c:pt idx="43">
                  <c:v>Чеченская Республика</c:v>
                </c:pt>
                <c:pt idx="44">
                  <c:v>Ставропольский край</c:v>
                </c:pt>
                <c:pt idx="45">
                  <c:v>Республика Башкортостан</c:v>
                </c:pt>
                <c:pt idx="46">
                  <c:v>Республика Марий Эл</c:v>
                </c:pt>
                <c:pt idx="47">
                  <c:v>Республика Мордовия</c:v>
                </c:pt>
                <c:pt idx="48">
                  <c:v>Республика Татарстан</c:v>
                </c:pt>
                <c:pt idx="49">
                  <c:v>Удмуртская Республика</c:v>
                </c:pt>
                <c:pt idx="50">
                  <c:v>Чувашская Республика</c:v>
                </c:pt>
                <c:pt idx="51">
                  <c:v>Пермский край</c:v>
                </c:pt>
                <c:pt idx="52">
                  <c:v>Кировская область</c:v>
                </c:pt>
                <c:pt idx="53">
                  <c:v>Нижегородская область</c:v>
                </c:pt>
                <c:pt idx="54">
                  <c:v>Оренбургская область</c:v>
                </c:pt>
                <c:pt idx="55">
                  <c:v>Пензенская область</c:v>
                </c:pt>
                <c:pt idx="56">
                  <c:v>Самарская область</c:v>
                </c:pt>
                <c:pt idx="57">
                  <c:v>Саратовская область</c:v>
                </c:pt>
                <c:pt idx="58">
                  <c:v>Ульяновская область</c:v>
                </c:pt>
                <c:pt idx="59">
                  <c:v>Курганская область</c:v>
                </c:pt>
                <c:pt idx="60">
                  <c:v>Свердловская область</c:v>
                </c:pt>
                <c:pt idx="61">
                  <c:v>Ханты-Мансийский автономный округ-Югра</c:v>
                </c:pt>
                <c:pt idx="62">
                  <c:v>Ямало-Ненецкий автономный округ</c:v>
                </c:pt>
                <c:pt idx="63">
                  <c:v>Тюменская область (без автономных округов)</c:v>
                </c:pt>
                <c:pt idx="64">
                  <c:v>Челябинская область</c:v>
                </c:pt>
                <c:pt idx="65">
                  <c:v>Республика Бурятия</c:v>
                </c:pt>
                <c:pt idx="66">
                  <c:v>Республика Тыва</c:v>
                </c:pt>
                <c:pt idx="67">
                  <c:v>Алтайский край</c:v>
                </c:pt>
                <c:pt idx="68">
                  <c:v>Республика Алтай</c:v>
                </c:pt>
                <c:pt idx="69">
                  <c:v>Республика Хакассия</c:v>
                </c:pt>
                <c:pt idx="70">
                  <c:v>Красноярский край</c:v>
                </c:pt>
                <c:pt idx="71">
                  <c:v>Иркутская область</c:v>
                </c:pt>
                <c:pt idx="72">
                  <c:v>Кемеровская область</c:v>
                </c:pt>
                <c:pt idx="73">
                  <c:v>Новосибирская область</c:v>
                </c:pt>
                <c:pt idx="74">
                  <c:v>Омская область</c:v>
                </c:pt>
                <c:pt idx="75">
                  <c:v>Томская область</c:v>
                </c:pt>
                <c:pt idx="76">
                  <c:v>Камчатский край</c:v>
                </c:pt>
                <c:pt idx="77">
                  <c:v>Приморский край</c:v>
                </c:pt>
                <c:pt idx="78">
                  <c:v>Хабаровский край</c:v>
                </c:pt>
                <c:pt idx="79">
                  <c:v>Магаданская область</c:v>
                </c:pt>
                <c:pt idx="80">
                  <c:v>Сахалинская область</c:v>
                </c:pt>
                <c:pt idx="81">
                  <c:v>Еврейская автономная область</c:v>
                </c:pt>
                <c:pt idx="82">
                  <c:v>Чукотский автономный округ</c:v>
                </c:pt>
              </c:strCache>
            </c:strRef>
          </c:cat>
          <c:val>
            <c:numRef>
              <c:f>'Гостиницы и места'!$G$5:$G$95</c:f>
            </c:numRef>
          </c:val>
          <c:smooth val="0"/>
        </c:ser>
        <c:dLbls>
          <c:showLegendKey val="0"/>
          <c:showVal val="0"/>
          <c:showCatName val="0"/>
          <c:showSerName val="0"/>
          <c:showPercent val="0"/>
          <c:showBubbleSize val="0"/>
        </c:dLbls>
        <c:marker val="1"/>
        <c:smooth val="0"/>
        <c:axId val="158651104"/>
        <c:axId val="158651496"/>
      </c:lineChart>
      <c:lineChart>
        <c:grouping val="standard"/>
        <c:varyColors val="0"/>
        <c:ser>
          <c:idx val="6"/>
          <c:order val="6"/>
          <c:tx>
            <c:strRef>
              <c:f>'Гостиницы и места'!$H$4</c:f>
              <c:strCache>
                <c:ptCount val="1"/>
                <c:pt idx="0">
                  <c:v>Мест</c:v>
                </c:pt>
              </c:strCache>
            </c:strRef>
          </c:tx>
          <c:spPr>
            <a:ln w="28575" cap="rnd">
              <a:solidFill>
                <a:srgbClr val="002060"/>
              </a:solidFill>
              <a:round/>
            </a:ln>
            <a:effectLst/>
          </c:spPr>
          <c:marker>
            <c:symbol val="picture"/>
            <c:spPr>
              <a:blipFill>
                <a:blip xmlns:r="http://schemas.openxmlformats.org/officeDocument/2006/relationships" r:embed="rId1"/>
                <a:stretch>
                  <a:fillRect/>
                </a:stretch>
              </a:blipFill>
              <a:ln w="25400">
                <a:noFill/>
              </a:ln>
              <a:effectLst/>
            </c:spPr>
          </c:marker>
          <c:dPt>
            <c:idx val="17"/>
            <c:marker>
              <c:spPr>
                <a:blipFill>
                  <a:blip xmlns:r="http://schemas.openxmlformats.org/officeDocument/2006/relationships" r:embed="rId2"/>
                  <a:stretch>
                    <a:fillRect/>
                  </a:stretch>
                </a:blipFill>
                <a:ln w="25400">
                  <a:noFill/>
                </a:ln>
                <a:effectLst/>
              </c:spPr>
            </c:marker>
            <c:bubble3D val="0"/>
          </c:dPt>
          <c:dPt>
            <c:idx val="48"/>
            <c:marker>
              <c:spPr>
                <a:noFill/>
                <a:ln w="25400">
                  <a:noFill/>
                </a:ln>
                <a:effectLst/>
              </c:spPr>
            </c:marker>
            <c:bubble3D val="0"/>
          </c:dPt>
          <c:cat>
            <c:strRef>
              <c:f>'Гостиницы и места'!$A$5:$A$95</c:f>
              <c:strCache>
                <c:ptCount val="83"/>
                <c:pt idx="0">
                  <c:v>Белгородская область</c:v>
                </c:pt>
                <c:pt idx="1">
                  <c:v>Брянская область</c:v>
                </c:pt>
                <c:pt idx="2">
                  <c:v>Владимирская область</c:v>
                </c:pt>
                <c:pt idx="3">
                  <c:v>Воронежская область</c:v>
                </c:pt>
                <c:pt idx="4">
                  <c:v>Ивановская область</c:v>
                </c:pt>
                <c:pt idx="5">
                  <c:v>Калужская область</c:v>
                </c:pt>
                <c:pt idx="6">
                  <c:v>Костромская область</c:v>
                </c:pt>
                <c:pt idx="7">
                  <c:v>Курская область</c:v>
                </c:pt>
                <c:pt idx="8">
                  <c:v>Липецкая область</c:v>
                </c:pt>
                <c:pt idx="9">
                  <c:v>Московская область</c:v>
                </c:pt>
                <c:pt idx="10">
                  <c:v>Орловская область</c:v>
                </c:pt>
                <c:pt idx="11">
                  <c:v>Рязанская область</c:v>
                </c:pt>
                <c:pt idx="12">
                  <c:v>Смоленская область</c:v>
                </c:pt>
                <c:pt idx="13">
                  <c:v>Тамбовская область</c:v>
                </c:pt>
                <c:pt idx="14">
                  <c:v>Тверская область</c:v>
                </c:pt>
                <c:pt idx="15">
                  <c:v>Тульская область</c:v>
                </c:pt>
                <c:pt idx="16">
                  <c:v>Ярославская область</c:v>
                </c:pt>
                <c:pt idx="17">
                  <c:v>г.Москва</c:v>
                </c:pt>
                <c:pt idx="18">
                  <c:v>Республика Карелия</c:v>
                </c:pt>
                <c:pt idx="19">
                  <c:v>Республика Коми</c:v>
                </c:pt>
                <c:pt idx="20">
                  <c:v>Архангельская область</c:v>
                </c:pt>
                <c:pt idx="21">
                  <c:v>Ненецкий автономный округ</c:v>
                </c:pt>
                <c:pt idx="22">
                  <c:v>Архангельская область (без автономного округа)</c:v>
                </c:pt>
                <c:pt idx="23">
                  <c:v>Вологодская область</c:v>
                </c:pt>
                <c:pt idx="24">
                  <c:v>Калининградская область</c:v>
                </c:pt>
                <c:pt idx="25">
                  <c:v>Ленинградская область</c:v>
                </c:pt>
                <c:pt idx="26">
                  <c:v>Мурманская область</c:v>
                </c:pt>
                <c:pt idx="27">
                  <c:v>Новгородская область</c:v>
                </c:pt>
                <c:pt idx="28">
                  <c:v>Псковская область</c:v>
                </c:pt>
                <c:pt idx="29">
                  <c:v>г.Санкт-Петербург</c:v>
                </c:pt>
                <c:pt idx="30">
                  <c:v>Республика Адыгея</c:v>
                </c:pt>
                <c:pt idx="31">
                  <c:v>Республика Калмыкия</c:v>
                </c:pt>
                <c:pt idx="32">
                  <c:v>Республика Крым</c:v>
                </c:pt>
                <c:pt idx="33">
                  <c:v>Краснодарский край</c:v>
                </c:pt>
                <c:pt idx="34">
                  <c:v>Астраханская область</c:v>
                </c:pt>
                <c:pt idx="35">
                  <c:v>Волгоградская область</c:v>
                </c:pt>
                <c:pt idx="36">
                  <c:v>Ростовская область</c:v>
                </c:pt>
                <c:pt idx="37">
                  <c:v>г. Севастополь</c:v>
                </c:pt>
                <c:pt idx="38">
                  <c:v>Республика Дагестан</c:v>
                </c:pt>
                <c:pt idx="39">
                  <c:v>Республика Ингушетия</c:v>
                </c:pt>
                <c:pt idx="40">
                  <c:v>Кабардино-Балкарская Республика</c:v>
                </c:pt>
                <c:pt idx="41">
                  <c:v>Карачаево-Черкесская Республика</c:v>
                </c:pt>
                <c:pt idx="42">
                  <c:v>Республика Северная Осетия - Алания</c:v>
                </c:pt>
                <c:pt idx="43">
                  <c:v>Чеченская Республика</c:v>
                </c:pt>
                <c:pt idx="44">
                  <c:v>Ставропольский край</c:v>
                </c:pt>
                <c:pt idx="45">
                  <c:v>Республика Башкортостан</c:v>
                </c:pt>
                <c:pt idx="46">
                  <c:v>Республика Марий Эл</c:v>
                </c:pt>
                <c:pt idx="47">
                  <c:v>Республика Мордовия</c:v>
                </c:pt>
                <c:pt idx="48">
                  <c:v>Республика Татарстан</c:v>
                </c:pt>
                <c:pt idx="49">
                  <c:v>Удмуртская Республика</c:v>
                </c:pt>
                <c:pt idx="50">
                  <c:v>Чувашская Республика</c:v>
                </c:pt>
                <c:pt idx="51">
                  <c:v>Пермский край</c:v>
                </c:pt>
                <c:pt idx="52">
                  <c:v>Кировская область</c:v>
                </c:pt>
                <c:pt idx="53">
                  <c:v>Нижегородская область</c:v>
                </c:pt>
                <c:pt idx="54">
                  <c:v>Оренбургская область</c:v>
                </c:pt>
                <c:pt idx="55">
                  <c:v>Пензенская область</c:v>
                </c:pt>
                <c:pt idx="56">
                  <c:v>Самарская область</c:v>
                </c:pt>
                <c:pt idx="57">
                  <c:v>Саратовская область</c:v>
                </c:pt>
                <c:pt idx="58">
                  <c:v>Ульяновская область</c:v>
                </c:pt>
                <c:pt idx="59">
                  <c:v>Курганская область</c:v>
                </c:pt>
                <c:pt idx="60">
                  <c:v>Свердловская область</c:v>
                </c:pt>
                <c:pt idx="61">
                  <c:v>Ханты-Мансийский автономный округ-Югра</c:v>
                </c:pt>
                <c:pt idx="62">
                  <c:v>Ямало-Ненецкий автономный округ</c:v>
                </c:pt>
                <c:pt idx="63">
                  <c:v>Тюменская область (без автономных округов)</c:v>
                </c:pt>
                <c:pt idx="64">
                  <c:v>Челябинская область</c:v>
                </c:pt>
                <c:pt idx="65">
                  <c:v>Республика Бурятия</c:v>
                </c:pt>
                <c:pt idx="66">
                  <c:v>Республика Тыва</c:v>
                </c:pt>
                <c:pt idx="67">
                  <c:v>Алтайский край</c:v>
                </c:pt>
                <c:pt idx="68">
                  <c:v>Республика Алтай</c:v>
                </c:pt>
                <c:pt idx="69">
                  <c:v>Республика Хакассия</c:v>
                </c:pt>
                <c:pt idx="70">
                  <c:v>Красноярский край</c:v>
                </c:pt>
                <c:pt idx="71">
                  <c:v>Иркутская область</c:v>
                </c:pt>
                <c:pt idx="72">
                  <c:v>Кемеровская область</c:v>
                </c:pt>
                <c:pt idx="73">
                  <c:v>Новосибирская область</c:v>
                </c:pt>
                <c:pt idx="74">
                  <c:v>Омская область</c:v>
                </c:pt>
                <c:pt idx="75">
                  <c:v>Томская область</c:v>
                </c:pt>
                <c:pt idx="76">
                  <c:v>Камчатский край</c:v>
                </c:pt>
                <c:pt idx="77">
                  <c:v>Приморский край</c:v>
                </c:pt>
                <c:pt idx="78">
                  <c:v>Хабаровский край</c:v>
                </c:pt>
                <c:pt idx="79">
                  <c:v>Магаданская область</c:v>
                </c:pt>
                <c:pt idx="80">
                  <c:v>Сахалинская область</c:v>
                </c:pt>
                <c:pt idx="81">
                  <c:v>Еврейская автономная область</c:v>
                </c:pt>
                <c:pt idx="82">
                  <c:v>Чукотский автономный округ</c:v>
                </c:pt>
              </c:strCache>
            </c:strRef>
          </c:cat>
          <c:val>
            <c:numRef>
              <c:f>'Гостиницы и места'!$H$5:$H$95</c:f>
              <c:numCache>
                <c:formatCode>General</c:formatCode>
                <c:ptCount val="83"/>
                <c:pt idx="0">
                  <c:v>6.1</c:v>
                </c:pt>
                <c:pt idx="1">
                  <c:v>6.3</c:v>
                </c:pt>
                <c:pt idx="2">
                  <c:v>15.7</c:v>
                </c:pt>
                <c:pt idx="3">
                  <c:v>18.100000000000001</c:v>
                </c:pt>
                <c:pt idx="4">
                  <c:v>9.8000000000000007</c:v>
                </c:pt>
                <c:pt idx="5">
                  <c:v>18.8</c:v>
                </c:pt>
                <c:pt idx="6">
                  <c:v>5.2</c:v>
                </c:pt>
                <c:pt idx="7">
                  <c:v>6.1</c:v>
                </c:pt>
                <c:pt idx="8">
                  <c:v>8.6</c:v>
                </c:pt>
                <c:pt idx="9">
                  <c:v>86.7</c:v>
                </c:pt>
                <c:pt idx="10">
                  <c:v>3.5</c:v>
                </c:pt>
                <c:pt idx="11">
                  <c:v>8.8000000000000007</c:v>
                </c:pt>
                <c:pt idx="12">
                  <c:v>6.7</c:v>
                </c:pt>
                <c:pt idx="13">
                  <c:v>6.1</c:v>
                </c:pt>
                <c:pt idx="14">
                  <c:v>15.6</c:v>
                </c:pt>
                <c:pt idx="15">
                  <c:v>13</c:v>
                </c:pt>
                <c:pt idx="16">
                  <c:v>16.2</c:v>
                </c:pt>
                <c:pt idx="17">
                  <c:v>104.5</c:v>
                </c:pt>
                <c:pt idx="18">
                  <c:v>8.5</c:v>
                </c:pt>
                <c:pt idx="19">
                  <c:v>6.3</c:v>
                </c:pt>
                <c:pt idx="20">
                  <c:v>9.6</c:v>
                </c:pt>
                <c:pt idx="21">
                  <c:v>0.2</c:v>
                </c:pt>
                <c:pt idx="22">
                  <c:v>9.4</c:v>
                </c:pt>
                <c:pt idx="23">
                  <c:v>12.7</c:v>
                </c:pt>
                <c:pt idx="24">
                  <c:v>13.6</c:v>
                </c:pt>
                <c:pt idx="25">
                  <c:v>34</c:v>
                </c:pt>
                <c:pt idx="26">
                  <c:v>7.9</c:v>
                </c:pt>
                <c:pt idx="27">
                  <c:v>8.6999999999999993</c:v>
                </c:pt>
                <c:pt idx="28">
                  <c:v>8.3000000000000007</c:v>
                </c:pt>
                <c:pt idx="29">
                  <c:v>52.9</c:v>
                </c:pt>
                <c:pt idx="30">
                  <c:v>3.9</c:v>
                </c:pt>
                <c:pt idx="31">
                  <c:v>0.9</c:v>
                </c:pt>
                <c:pt idx="32">
                  <c:v>166.8</c:v>
                </c:pt>
                <c:pt idx="33">
                  <c:v>307</c:v>
                </c:pt>
                <c:pt idx="34">
                  <c:v>9</c:v>
                </c:pt>
                <c:pt idx="35">
                  <c:v>19.399999999999999</c:v>
                </c:pt>
                <c:pt idx="36">
                  <c:v>30.1</c:v>
                </c:pt>
                <c:pt idx="37">
                  <c:v>26.7</c:v>
                </c:pt>
                <c:pt idx="38">
                  <c:v>5.8</c:v>
                </c:pt>
                <c:pt idx="39">
                  <c:v>0.5</c:v>
                </c:pt>
                <c:pt idx="40">
                  <c:v>11.9</c:v>
                </c:pt>
                <c:pt idx="41">
                  <c:v>5.7</c:v>
                </c:pt>
                <c:pt idx="42">
                  <c:v>3.9</c:v>
                </c:pt>
                <c:pt idx="43">
                  <c:v>1.6</c:v>
                </c:pt>
                <c:pt idx="44">
                  <c:v>39.700000000000003</c:v>
                </c:pt>
                <c:pt idx="45">
                  <c:v>33.6</c:v>
                </c:pt>
                <c:pt idx="46">
                  <c:v>6.3</c:v>
                </c:pt>
                <c:pt idx="47">
                  <c:v>4.8</c:v>
                </c:pt>
                <c:pt idx="48">
                  <c:v>39</c:v>
                </c:pt>
                <c:pt idx="49">
                  <c:v>9.9</c:v>
                </c:pt>
                <c:pt idx="50">
                  <c:v>7.7</c:v>
                </c:pt>
                <c:pt idx="51">
                  <c:v>23</c:v>
                </c:pt>
                <c:pt idx="52">
                  <c:v>9.6999999999999993</c:v>
                </c:pt>
                <c:pt idx="53">
                  <c:v>33.1</c:v>
                </c:pt>
                <c:pt idx="54">
                  <c:v>13.9</c:v>
                </c:pt>
                <c:pt idx="55">
                  <c:v>6.4</c:v>
                </c:pt>
                <c:pt idx="56">
                  <c:v>33.9</c:v>
                </c:pt>
                <c:pt idx="57">
                  <c:v>16.8</c:v>
                </c:pt>
                <c:pt idx="58">
                  <c:v>10.8</c:v>
                </c:pt>
                <c:pt idx="59">
                  <c:v>6.6</c:v>
                </c:pt>
                <c:pt idx="60">
                  <c:v>34.700000000000003</c:v>
                </c:pt>
                <c:pt idx="61">
                  <c:v>12.1</c:v>
                </c:pt>
                <c:pt idx="62">
                  <c:v>3.8</c:v>
                </c:pt>
                <c:pt idx="63">
                  <c:v>15</c:v>
                </c:pt>
                <c:pt idx="64">
                  <c:v>37.4</c:v>
                </c:pt>
                <c:pt idx="65">
                  <c:v>13.4</c:v>
                </c:pt>
                <c:pt idx="66">
                  <c:v>2.1</c:v>
                </c:pt>
                <c:pt idx="67">
                  <c:v>24.5</c:v>
                </c:pt>
                <c:pt idx="68">
                  <c:v>7.3</c:v>
                </c:pt>
                <c:pt idx="69">
                  <c:v>10.7</c:v>
                </c:pt>
                <c:pt idx="70">
                  <c:v>23</c:v>
                </c:pt>
                <c:pt idx="71">
                  <c:v>26.2</c:v>
                </c:pt>
                <c:pt idx="72">
                  <c:v>20.9</c:v>
                </c:pt>
                <c:pt idx="73">
                  <c:v>19.5</c:v>
                </c:pt>
                <c:pt idx="74">
                  <c:v>14.3</c:v>
                </c:pt>
                <c:pt idx="75">
                  <c:v>8.6</c:v>
                </c:pt>
                <c:pt idx="76">
                  <c:v>3.5</c:v>
                </c:pt>
                <c:pt idx="77">
                  <c:v>39.5</c:v>
                </c:pt>
                <c:pt idx="78">
                  <c:v>10.199999999999999</c:v>
                </c:pt>
                <c:pt idx="79">
                  <c:v>1.7</c:v>
                </c:pt>
                <c:pt idx="80">
                  <c:v>4.0999999999999996</c:v>
                </c:pt>
                <c:pt idx="81">
                  <c:v>1.2</c:v>
                </c:pt>
                <c:pt idx="82">
                  <c:v>1.1000000000000001</c:v>
                </c:pt>
              </c:numCache>
            </c:numRef>
          </c:val>
          <c:smooth val="0"/>
        </c:ser>
        <c:dLbls>
          <c:showLegendKey val="0"/>
          <c:showVal val="0"/>
          <c:showCatName val="0"/>
          <c:showSerName val="0"/>
          <c:showPercent val="0"/>
          <c:showBubbleSize val="0"/>
        </c:dLbls>
        <c:marker val="1"/>
        <c:smooth val="0"/>
        <c:axId val="158652280"/>
        <c:axId val="158651888"/>
      </c:lineChart>
      <c:catAx>
        <c:axId val="158651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158651496"/>
        <c:crosses val="autoZero"/>
        <c:auto val="1"/>
        <c:lblAlgn val="ctr"/>
        <c:lblOffset val="100"/>
        <c:tickLblSkip val="1"/>
        <c:noMultiLvlLbl val="0"/>
      </c:catAx>
      <c:valAx>
        <c:axId val="15865149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ru-RU"/>
                  <a:t>Кол-во гостиниц</a:t>
                </a:r>
                <a:endParaRPr lang="en-US"/>
              </a:p>
            </c:rich>
          </c:tx>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158651104"/>
        <c:crossesAt val="1"/>
        <c:crossBetween val="between"/>
      </c:valAx>
      <c:valAx>
        <c:axId val="158651888"/>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ru-RU"/>
                  <a:t>Кол-во мест (тыс. ед)</a:t>
                </a:r>
                <a:endParaRPr lang="en-US"/>
              </a:p>
            </c:rich>
          </c:tx>
          <c:layout/>
          <c:overlay val="0"/>
          <c:spPr>
            <a:noFill/>
            <a:ln>
              <a:noFill/>
            </a:ln>
            <a:effectLst/>
          </c:sp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158652280"/>
        <c:crosses val="max"/>
        <c:crossBetween val="between"/>
      </c:valAx>
      <c:catAx>
        <c:axId val="158652280"/>
        <c:scaling>
          <c:orientation val="minMax"/>
        </c:scaling>
        <c:delete val="1"/>
        <c:axPos val="b"/>
        <c:numFmt formatCode="General" sourceLinked="1"/>
        <c:majorTickMark val="out"/>
        <c:minorTickMark val="none"/>
        <c:tickLblPos val="nextTo"/>
        <c:crossAx val="158651888"/>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solidFill>
      <a:schemeClr val="bg1"/>
    </a:solidFill>
    <a:ln w="9525" cap="flat" cmpd="sng" algn="ctr">
      <a:noFill/>
      <a:round/>
    </a:ln>
    <a:effectLst/>
  </c:spPr>
  <c:txPr>
    <a:bodyPr/>
    <a:lstStyle/>
    <a:p>
      <a:pPr>
        <a:defRPr>
          <a:latin typeface="Arial" panose="020B0604020202020204" pitchFamily="34" charset="0"/>
          <a:cs typeface="Arial" panose="020B0604020202020204" pitchFamily="34" charset="0"/>
        </a:defRPr>
      </a:pPr>
      <a:endParaRPr lang="ru-RU"/>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ru-RU"/>
              <a:t>Вместимость</a:t>
            </a:r>
            <a:r>
              <a:rPr lang="ru-RU" baseline="0"/>
              <a:t> гостиниц , мест</a:t>
            </a:r>
            <a:endParaRPr lang="en-US"/>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title>
    <c:autoTitleDeleted val="0"/>
    <c:plotArea>
      <c:layout/>
      <c:barChart>
        <c:barDir val="col"/>
        <c:grouping val="clustered"/>
        <c:varyColors val="0"/>
        <c:ser>
          <c:idx val="0"/>
          <c:order val="0"/>
          <c:tx>
            <c:strRef>
              <c:f>'График проблемные'!$P$10</c:f>
              <c:strCache>
                <c:ptCount val="1"/>
                <c:pt idx="0">
                  <c:v>Мест в гостиницах</c:v>
                </c:pt>
              </c:strCache>
            </c:strRef>
          </c:tx>
          <c:spPr>
            <a:solidFill>
              <a:srgbClr val="002060"/>
            </a:solidFill>
            <a:ln>
              <a:solidFill>
                <a:srgbClr val="002060"/>
              </a:solidFill>
            </a:ln>
            <a:effectLst/>
          </c:spPr>
          <c:invertIfNegative val="0"/>
          <c:cat>
            <c:strRef>
              <c:f>'График проблемные'!$O$11:$O$22</c:f>
              <c:strCache>
                <c:ptCount val="12"/>
                <c:pt idx="0">
                  <c:v>Ивановская область</c:v>
                </c:pt>
                <c:pt idx="1">
                  <c:v>Ненецкий автономный округ</c:v>
                </c:pt>
                <c:pt idx="2">
                  <c:v>Республика Калмыкия</c:v>
                </c:pt>
                <c:pt idx="3">
                  <c:v>Республика Крым</c:v>
                </c:pt>
                <c:pt idx="4">
                  <c:v>Ленинградская область</c:v>
                </c:pt>
                <c:pt idx="5">
                  <c:v>Республика Ингушетия</c:v>
                </c:pt>
                <c:pt idx="6">
                  <c:v>Республика Северная Осетия - Алания</c:v>
                </c:pt>
                <c:pt idx="7">
                  <c:v>Ставропольский край</c:v>
                </c:pt>
                <c:pt idx="8">
                  <c:v>Республика Марий Эл</c:v>
                </c:pt>
                <c:pt idx="9">
                  <c:v>Ульяновская область</c:v>
                </c:pt>
                <c:pt idx="10">
                  <c:v>Республика Хакассия</c:v>
                </c:pt>
                <c:pt idx="11">
                  <c:v>Иркутская область</c:v>
                </c:pt>
              </c:strCache>
            </c:strRef>
          </c:cat>
          <c:val>
            <c:numRef>
              <c:f>'График проблемные'!$P$11:$P$22</c:f>
              <c:numCache>
                <c:formatCode>0</c:formatCode>
                <c:ptCount val="12"/>
                <c:pt idx="0">
                  <c:v>188.46153846153845</c:v>
                </c:pt>
                <c:pt idx="1">
                  <c:v>28.571428571428573</c:v>
                </c:pt>
                <c:pt idx="2">
                  <c:v>40.909090909090907</c:v>
                </c:pt>
                <c:pt idx="3">
                  <c:v>303.27272727272725</c:v>
                </c:pt>
                <c:pt idx="4">
                  <c:v>191.01123595505618</c:v>
                </c:pt>
                <c:pt idx="5">
                  <c:v>250</c:v>
                </c:pt>
                <c:pt idx="6">
                  <c:v>243.75</c:v>
                </c:pt>
                <c:pt idx="7">
                  <c:v>162.70491803278688</c:v>
                </c:pt>
                <c:pt idx="8">
                  <c:v>210</c:v>
                </c:pt>
                <c:pt idx="9">
                  <c:v>183.05084745762713</c:v>
                </c:pt>
                <c:pt idx="10">
                  <c:v>214</c:v>
                </c:pt>
                <c:pt idx="11">
                  <c:v>174.66666666666666</c:v>
                </c:pt>
              </c:numCache>
            </c:numRef>
          </c:val>
        </c:ser>
        <c:dLbls>
          <c:showLegendKey val="0"/>
          <c:showVal val="0"/>
          <c:showCatName val="0"/>
          <c:showSerName val="0"/>
          <c:showPercent val="0"/>
          <c:showBubbleSize val="0"/>
        </c:dLbls>
        <c:gapWidth val="219"/>
        <c:overlap val="-27"/>
        <c:axId val="158653064"/>
        <c:axId val="158653456"/>
      </c:barChart>
      <c:lineChart>
        <c:grouping val="standard"/>
        <c:varyColors val="0"/>
        <c:ser>
          <c:idx val="1"/>
          <c:order val="1"/>
          <c:tx>
            <c:strRef>
              <c:f>'График проблемные'!$Q$10</c:f>
              <c:strCache>
                <c:ptCount val="1"/>
                <c:pt idx="0">
                  <c:v>В среднем по РФ</c:v>
                </c:pt>
              </c:strCache>
            </c:strRef>
          </c:tx>
          <c:spPr>
            <a:ln w="28575" cap="rnd">
              <a:solidFill>
                <a:srgbClr val="FF0000"/>
              </a:solidFill>
              <a:round/>
            </a:ln>
            <a:effectLst/>
          </c:spPr>
          <c:marker>
            <c:symbol val="none"/>
          </c:marker>
          <c:cat>
            <c:strRef>
              <c:f>'График проблемные'!$O$11:$O$22</c:f>
              <c:strCache>
                <c:ptCount val="12"/>
                <c:pt idx="0">
                  <c:v>Ивановская область</c:v>
                </c:pt>
                <c:pt idx="1">
                  <c:v>Ненецкий автономный округ</c:v>
                </c:pt>
                <c:pt idx="2">
                  <c:v>Республика Калмыкия</c:v>
                </c:pt>
                <c:pt idx="3">
                  <c:v>Республика Крым</c:v>
                </c:pt>
                <c:pt idx="4">
                  <c:v>Ленинградская область</c:v>
                </c:pt>
                <c:pt idx="5">
                  <c:v>Республика Ингушетия</c:v>
                </c:pt>
                <c:pt idx="6">
                  <c:v>Республика Северная Осетия - Алания</c:v>
                </c:pt>
                <c:pt idx="7">
                  <c:v>Ставропольский край</c:v>
                </c:pt>
                <c:pt idx="8">
                  <c:v>Республика Марий Эл</c:v>
                </c:pt>
                <c:pt idx="9">
                  <c:v>Ульяновская область</c:v>
                </c:pt>
                <c:pt idx="10">
                  <c:v>Республика Хакассия</c:v>
                </c:pt>
                <c:pt idx="11">
                  <c:v>Иркутская область</c:v>
                </c:pt>
              </c:strCache>
            </c:strRef>
          </c:cat>
          <c:val>
            <c:numRef>
              <c:f>'График проблемные'!$Q$11:$Q$22</c:f>
              <c:numCache>
                <c:formatCode>0</c:formatCode>
                <c:ptCount val="12"/>
                <c:pt idx="0">
                  <c:v>126.31465826049578</c:v>
                </c:pt>
                <c:pt idx="1">
                  <c:v>126.31465826049578</c:v>
                </c:pt>
                <c:pt idx="2">
                  <c:v>126.31465826049578</c:v>
                </c:pt>
                <c:pt idx="3">
                  <c:v>126.31465826049578</c:v>
                </c:pt>
                <c:pt idx="4">
                  <c:v>126.31465826049578</c:v>
                </c:pt>
                <c:pt idx="5">
                  <c:v>126.31465826049578</c:v>
                </c:pt>
                <c:pt idx="6">
                  <c:v>126.31465826049578</c:v>
                </c:pt>
                <c:pt idx="7">
                  <c:v>126.31465826049578</c:v>
                </c:pt>
                <c:pt idx="8">
                  <c:v>126.31465826049578</c:v>
                </c:pt>
                <c:pt idx="9">
                  <c:v>126.31465826049578</c:v>
                </c:pt>
                <c:pt idx="10">
                  <c:v>126.31465826049578</c:v>
                </c:pt>
                <c:pt idx="11">
                  <c:v>126.31465826049578</c:v>
                </c:pt>
              </c:numCache>
            </c:numRef>
          </c:val>
          <c:smooth val="0"/>
        </c:ser>
        <c:dLbls>
          <c:showLegendKey val="0"/>
          <c:showVal val="0"/>
          <c:showCatName val="0"/>
          <c:showSerName val="0"/>
          <c:showPercent val="0"/>
          <c:showBubbleSize val="0"/>
        </c:dLbls>
        <c:marker val="1"/>
        <c:smooth val="0"/>
        <c:axId val="158653064"/>
        <c:axId val="158653456"/>
      </c:lineChart>
      <c:catAx>
        <c:axId val="158653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158653456"/>
        <c:crosses val="autoZero"/>
        <c:auto val="1"/>
        <c:lblAlgn val="ctr"/>
        <c:lblOffset val="100"/>
        <c:noMultiLvlLbl val="0"/>
      </c:catAx>
      <c:valAx>
        <c:axId val="1586534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15865306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solidFill>
      <a:schemeClr val="bg1"/>
    </a:solidFill>
    <a:ln w="9525" cap="flat" cmpd="sng" algn="ctr">
      <a:noFill/>
      <a:round/>
    </a:ln>
    <a:effectLst/>
  </c:spPr>
  <c:txPr>
    <a:bodyPr/>
    <a:lstStyle/>
    <a:p>
      <a:pPr>
        <a:defRPr>
          <a:latin typeface="Arial" panose="020B0604020202020204" pitchFamily="34" charset="0"/>
          <a:cs typeface="Arial" panose="020B0604020202020204" pitchFamily="34" charset="0"/>
        </a:defRPr>
      </a:pPr>
      <a:endParaRPr lang="ru-R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ru-RU"/>
              <a:t>Количество гостиниц и аналогичных средств размещения </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title>
    <c:autoTitleDeleted val="0"/>
    <c:plotArea>
      <c:layout/>
      <c:barChart>
        <c:barDir val="col"/>
        <c:grouping val="clustered"/>
        <c:varyColors val="0"/>
        <c:ser>
          <c:idx val="0"/>
          <c:order val="0"/>
          <c:tx>
            <c:strRef>
              <c:f>'2016-17'!$I$11</c:f>
              <c:strCache>
                <c:ptCount val="1"/>
                <c:pt idx="0">
                  <c:v>гостиницы и аналогичные </c:v>
                </c:pt>
              </c:strCache>
            </c:strRef>
          </c:tx>
          <c:spPr>
            <a:solidFill>
              <a:schemeClr val="accent1"/>
            </a:solidFill>
            <a:ln>
              <a:noFill/>
            </a:ln>
            <a:effectLst/>
          </c:spPr>
          <c:invertIfNegative val="0"/>
          <c:dPt>
            <c:idx val="5"/>
            <c:invertIfNegative val="0"/>
            <c:bubble3D val="0"/>
            <c:spPr>
              <a:pattFill prst="pct75">
                <a:fgClr>
                  <a:schemeClr val="accent1"/>
                </a:fgClr>
                <a:bgClr>
                  <a:schemeClr val="bg1"/>
                </a:bgClr>
              </a:pattFill>
              <a:ln>
                <a:noFill/>
              </a:ln>
              <a:effectLst/>
            </c:spPr>
          </c:dPt>
          <c:dPt>
            <c:idx val="6"/>
            <c:invertIfNegative val="0"/>
            <c:bubble3D val="0"/>
            <c:spPr>
              <a:pattFill prst="pct75">
                <a:fgClr>
                  <a:schemeClr val="accent1"/>
                </a:fgClr>
                <a:bgClr>
                  <a:schemeClr val="bg1"/>
                </a:bgClr>
              </a:pattFill>
              <a:ln>
                <a:noFill/>
              </a:ln>
              <a:effectLst/>
            </c:spPr>
          </c:dPt>
          <c:cat>
            <c:strRef>
              <c:f>'2016-17'!$J$10:$P$10</c:f>
              <c:strCache>
                <c:ptCount val="7"/>
                <c:pt idx="0">
                  <c:v>2011</c:v>
                </c:pt>
                <c:pt idx="1">
                  <c:v>2012</c:v>
                </c:pt>
                <c:pt idx="2">
                  <c:v>2013</c:v>
                </c:pt>
                <c:pt idx="3">
                  <c:v>2014</c:v>
                </c:pt>
                <c:pt idx="4">
                  <c:v>2015</c:v>
                </c:pt>
                <c:pt idx="5">
                  <c:v>2016 прогноз</c:v>
                </c:pt>
                <c:pt idx="6">
                  <c:v>2017 прогноз</c:v>
                </c:pt>
              </c:strCache>
            </c:strRef>
          </c:cat>
          <c:val>
            <c:numRef>
              <c:f>'2016-17'!$J$11:$P$11</c:f>
              <c:numCache>
                <c:formatCode>_-* #,##0\ _₽_-;\-* #,##0\ _₽_-;_-* "-"??\ _₽_-;_-@_-</c:formatCode>
                <c:ptCount val="7"/>
                <c:pt idx="0">
                  <c:v>8416</c:v>
                </c:pt>
                <c:pt idx="1">
                  <c:v>9316</c:v>
                </c:pt>
                <c:pt idx="2">
                  <c:v>9869</c:v>
                </c:pt>
                <c:pt idx="3">
                  <c:v>10714</c:v>
                </c:pt>
                <c:pt idx="4">
                  <c:v>13958</c:v>
                </c:pt>
                <c:pt idx="5">
                  <c:v>13190.31</c:v>
                </c:pt>
                <c:pt idx="6">
                  <c:v>12003.1821</c:v>
                </c:pt>
              </c:numCache>
            </c:numRef>
          </c:val>
        </c:ser>
        <c:dLbls>
          <c:showLegendKey val="0"/>
          <c:showVal val="0"/>
          <c:showCatName val="0"/>
          <c:showSerName val="0"/>
          <c:showPercent val="0"/>
          <c:showBubbleSize val="0"/>
        </c:dLbls>
        <c:gapWidth val="219"/>
        <c:overlap val="-27"/>
        <c:axId val="159277048"/>
        <c:axId val="159277440"/>
      </c:barChart>
      <c:catAx>
        <c:axId val="159277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159277440"/>
        <c:crosses val="autoZero"/>
        <c:auto val="1"/>
        <c:lblAlgn val="ctr"/>
        <c:lblOffset val="100"/>
        <c:noMultiLvlLbl val="0"/>
      </c:catAx>
      <c:valAx>
        <c:axId val="159277440"/>
        <c:scaling>
          <c:orientation val="minMax"/>
        </c:scaling>
        <c:delete val="0"/>
        <c:axPos val="l"/>
        <c:majorGridlines>
          <c:spPr>
            <a:ln w="9525" cap="flat" cmpd="sng" algn="ctr">
              <a:solidFill>
                <a:schemeClr val="tx1">
                  <a:lumMod val="15000"/>
                  <a:lumOff val="85000"/>
                </a:schemeClr>
              </a:solidFill>
              <a:round/>
            </a:ln>
            <a:effectLst/>
          </c:spPr>
        </c:majorGridlines>
        <c:numFmt formatCode="_-* #,##0\ _₽_-;\-* #,##0\ _₽_-;_-* &quot;-&quot;??\ _₽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159277048"/>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latin typeface="Arial" panose="020B0604020202020204" pitchFamily="34" charset="0"/>
          <a:cs typeface="Arial" panose="020B0604020202020204" pitchFamily="34" charset="0"/>
        </a:defRPr>
      </a:pPr>
      <a:endParaRPr lang="ru-R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ru-RU"/>
              <a:t>Загрузка гостиниц. Нехватка номеров по регионам</a:t>
            </a:r>
            <a:endParaRPr lang="en-US"/>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title>
    <c:autoTitleDeleted val="0"/>
    <c:plotArea>
      <c:layout>
        <c:manualLayout>
          <c:layoutTarget val="inner"/>
          <c:xMode val="edge"/>
          <c:yMode val="edge"/>
          <c:x val="0.15665201089193059"/>
          <c:y val="0.11649735689021815"/>
          <c:w val="0.81188038077568847"/>
          <c:h val="0.44289261593204288"/>
        </c:manualLayout>
      </c:layout>
      <c:lineChart>
        <c:grouping val="standard"/>
        <c:varyColors val="0"/>
        <c:ser>
          <c:idx val="7"/>
          <c:order val="7"/>
          <c:tx>
            <c:strRef>
              <c:f>'Загрузка по регионам'!$I$6</c:f>
              <c:strCache>
                <c:ptCount val="1"/>
                <c:pt idx="0">
                  <c:v>Загрузка, %</c:v>
                </c:pt>
              </c:strCache>
            </c:strRef>
          </c:tx>
          <c:spPr>
            <a:ln w="28575" cap="rnd">
              <a:solidFill>
                <a:schemeClr val="accent2">
                  <a:lumMod val="60000"/>
                </a:schemeClr>
              </a:solidFill>
              <a:round/>
            </a:ln>
            <a:effectLst/>
          </c:spPr>
          <c:marker>
            <c:symbol val="none"/>
          </c:marker>
          <c:dLbls>
            <c:dLbl>
              <c:idx val="18"/>
              <c:layout>
                <c:manualLayout>
                  <c:x val="-8.7448558342520105E-3"/>
                  <c:y val="-4.973056257364010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2"/>
              <c:layout/>
              <c:showLegendKey val="0"/>
              <c:showVal val="1"/>
              <c:showCatName val="0"/>
              <c:showSerName val="0"/>
              <c:showPercent val="0"/>
              <c:showBubbleSize val="0"/>
              <c:extLst>
                <c:ext xmlns:c15="http://schemas.microsoft.com/office/drawing/2012/chart" uri="{CE6537A1-D6FC-4f65-9D91-7224C49458BB}">
                  <c15:layout/>
                </c:ext>
              </c:extLst>
            </c:dLbl>
            <c:dLbl>
              <c:idx val="30"/>
              <c:layout/>
              <c:showLegendKey val="0"/>
              <c:showVal val="1"/>
              <c:showCatName val="0"/>
              <c:showSerName val="0"/>
              <c:showPercent val="0"/>
              <c:showBubbleSize val="0"/>
              <c:extLst>
                <c:ext xmlns:c15="http://schemas.microsoft.com/office/drawing/2012/chart" uri="{CE6537A1-D6FC-4f65-9D91-7224C49458BB}">
                  <c15:layout/>
                </c:ext>
              </c:extLst>
            </c:dLbl>
            <c:dLbl>
              <c:idx val="31"/>
              <c:layout/>
              <c:showLegendKey val="0"/>
              <c:showVal val="1"/>
              <c:showCatName val="0"/>
              <c:showSerName val="0"/>
              <c:showPercent val="0"/>
              <c:showBubbleSize val="0"/>
              <c:extLst>
                <c:ext xmlns:c15="http://schemas.microsoft.com/office/drawing/2012/chart" uri="{CE6537A1-D6FC-4f65-9D91-7224C49458BB}">
                  <c15:layout/>
                </c:ext>
              </c:extLst>
            </c:dLbl>
            <c:dLbl>
              <c:idx val="41"/>
              <c:layout/>
              <c:showLegendKey val="0"/>
              <c:showVal val="1"/>
              <c:showCatName val="0"/>
              <c:showSerName val="0"/>
              <c:showPercent val="0"/>
              <c:showBubbleSize val="0"/>
              <c:extLst>
                <c:ext xmlns:c15="http://schemas.microsoft.com/office/drawing/2012/chart" uri="{CE6537A1-D6FC-4f65-9D91-7224C49458BB}">
                  <c15:layout/>
                </c:ext>
              </c:extLst>
            </c:dLbl>
            <c:dLbl>
              <c:idx val="42"/>
              <c:layout>
                <c:manualLayout>
                  <c:x val="-3.0606995419881836E-2"/>
                  <c:y val="4.7113164543448501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5"/>
              <c:layout/>
              <c:showLegendKey val="0"/>
              <c:showVal val="1"/>
              <c:showCatName val="0"/>
              <c:showSerName val="0"/>
              <c:showPercent val="0"/>
              <c:showBubbleSize val="0"/>
              <c:extLst>
                <c:ext xmlns:c15="http://schemas.microsoft.com/office/drawing/2012/chart" uri="{CE6537A1-D6FC-4f65-9D91-7224C49458BB}">
                  <c15:layout/>
                </c:ext>
              </c:extLst>
            </c:dLbl>
            <c:dLbl>
              <c:idx val="59"/>
              <c:layout/>
              <c:showLegendKey val="0"/>
              <c:showVal val="1"/>
              <c:showCatName val="0"/>
              <c:showSerName val="0"/>
              <c:showPercent val="0"/>
              <c:showBubbleSize val="0"/>
              <c:extLst>
                <c:ext xmlns:c15="http://schemas.microsoft.com/office/drawing/2012/chart" uri="{CE6537A1-D6FC-4f65-9D91-7224C49458BB}">
                  <c15:layout/>
                </c:ext>
              </c:extLst>
            </c:dLbl>
            <c:dLbl>
              <c:idx val="60"/>
              <c:layout/>
              <c:showLegendKey val="0"/>
              <c:showVal val="1"/>
              <c:showCatName val="0"/>
              <c:showSerName val="0"/>
              <c:showPercent val="0"/>
              <c:showBubbleSize val="0"/>
              <c:extLst>
                <c:ext xmlns:c15="http://schemas.microsoft.com/office/drawing/2012/chart" uri="{CE6537A1-D6FC-4f65-9D91-7224C49458BB}">
                  <c15:layout/>
                </c:ext>
              </c:extLst>
            </c:dLbl>
            <c:dLbl>
              <c:idx val="79"/>
              <c:layout/>
              <c:showLegendKey val="0"/>
              <c:showVal val="1"/>
              <c:showCatName val="0"/>
              <c:showSerName val="0"/>
              <c:showPercent val="0"/>
              <c:showBubbleSize val="0"/>
              <c:extLst>
                <c:ext xmlns:c15="http://schemas.microsoft.com/office/drawing/2012/chart" uri="{CE6537A1-D6FC-4f65-9D91-7224C49458BB}">
                  <c15:layout/>
                </c:ext>
              </c:extLst>
            </c:dLbl>
            <c:dLbl>
              <c:idx val="88"/>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ru-RU"/>
              </a:p>
            </c:txPr>
            <c:showLegendKey val="0"/>
            <c:showVal val="0"/>
            <c:showCatName val="0"/>
            <c:showSerName val="0"/>
            <c:showPercent val="0"/>
            <c:showBubbleSize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Загрузка по регионам'!$A$7:$A$102</c:f>
              <c:strCache>
                <c:ptCount val="89"/>
                <c:pt idx="0">
                  <c:v>Российская Федерация</c:v>
                </c:pt>
                <c:pt idx="1">
                  <c:v>Белгородская область</c:v>
                </c:pt>
                <c:pt idx="2">
                  <c:v>Брянская область</c:v>
                </c:pt>
                <c:pt idx="3">
                  <c:v>Владимирская область</c:v>
                </c:pt>
                <c:pt idx="4">
                  <c:v>Воронежская область</c:v>
                </c:pt>
                <c:pt idx="5">
                  <c:v>Ивановская область</c:v>
                </c:pt>
                <c:pt idx="6">
                  <c:v>Калужская область</c:v>
                </c:pt>
                <c:pt idx="7">
                  <c:v>Костромская область</c:v>
                </c:pt>
                <c:pt idx="8">
                  <c:v>Курская область</c:v>
                </c:pt>
                <c:pt idx="9">
                  <c:v>Липецкая область</c:v>
                </c:pt>
                <c:pt idx="10">
                  <c:v>Московская область</c:v>
                </c:pt>
                <c:pt idx="11">
                  <c:v>Орловская область</c:v>
                </c:pt>
                <c:pt idx="12">
                  <c:v>Рязанская область</c:v>
                </c:pt>
                <c:pt idx="13">
                  <c:v>Смоленская область</c:v>
                </c:pt>
                <c:pt idx="14">
                  <c:v>Тамбовская область</c:v>
                </c:pt>
                <c:pt idx="15">
                  <c:v>Тверская область</c:v>
                </c:pt>
                <c:pt idx="16">
                  <c:v>Тульская область</c:v>
                </c:pt>
                <c:pt idx="17">
                  <c:v>Ярославская область</c:v>
                </c:pt>
                <c:pt idx="18">
                  <c:v>г.Москва</c:v>
                </c:pt>
                <c:pt idx="19">
                  <c:v>Республика Карелия</c:v>
                </c:pt>
                <c:pt idx="20">
                  <c:v>Республика Коми</c:v>
                </c:pt>
                <c:pt idx="21">
                  <c:v>Архангельская область</c:v>
                </c:pt>
                <c:pt idx="22">
                  <c:v>Ненецкий автономный округ</c:v>
                </c:pt>
                <c:pt idx="23">
                  <c:v>Архангельская область (без автономного округа)</c:v>
                </c:pt>
                <c:pt idx="24">
                  <c:v>Вологодская область</c:v>
                </c:pt>
                <c:pt idx="25">
                  <c:v>Калининградская область</c:v>
                </c:pt>
                <c:pt idx="26">
                  <c:v>Ленинградская область</c:v>
                </c:pt>
                <c:pt idx="27">
                  <c:v>Мурманская область</c:v>
                </c:pt>
                <c:pt idx="28">
                  <c:v>Новгородская область</c:v>
                </c:pt>
                <c:pt idx="29">
                  <c:v>Псковская область</c:v>
                </c:pt>
                <c:pt idx="30">
                  <c:v>г.Санкт-Петербург</c:v>
                </c:pt>
                <c:pt idx="31">
                  <c:v>Республика Адыгея</c:v>
                </c:pt>
                <c:pt idx="32">
                  <c:v>Республика Калмыкия</c:v>
                </c:pt>
                <c:pt idx="33">
                  <c:v>Республика Крым</c:v>
                </c:pt>
                <c:pt idx="34">
                  <c:v>Краснодарский край</c:v>
                </c:pt>
                <c:pt idx="35">
                  <c:v>Астраханская область</c:v>
                </c:pt>
                <c:pt idx="36">
                  <c:v>Волгоградская область</c:v>
                </c:pt>
                <c:pt idx="37">
                  <c:v>Ростовская область</c:v>
                </c:pt>
                <c:pt idx="38">
                  <c:v>г. Севастополь</c:v>
                </c:pt>
                <c:pt idx="39">
                  <c:v>Северо-Кавказский федеральный округ</c:v>
                </c:pt>
                <c:pt idx="40">
                  <c:v>Республика Дагестан</c:v>
                </c:pt>
                <c:pt idx="41">
                  <c:v>Республика Ингушетия</c:v>
                </c:pt>
                <c:pt idx="42">
                  <c:v>Кабардино-Балкарская Республика</c:v>
                </c:pt>
                <c:pt idx="43">
                  <c:v>Карачаево-Черкесская Республика</c:v>
                </c:pt>
                <c:pt idx="44">
                  <c:v>Республика Северная Осетия - Алания</c:v>
                </c:pt>
                <c:pt idx="45">
                  <c:v>Чеченская Республика</c:v>
                </c:pt>
                <c:pt idx="46">
                  <c:v>Ставропольский край</c:v>
                </c:pt>
                <c:pt idx="47">
                  <c:v>Республика Башкортостан</c:v>
                </c:pt>
                <c:pt idx="48">
                  <c:v>Республика Марий Эл</c:v>
                </c:pt>
                <c:pt idx="49">
                  <c:v>Республика Мордовия</c:v>
                </c:pt>
                <c:pt idx="50">
                  <c:v>Республика Татарстан</c:v>
                </c:pt>
                <c:pt idx="51">
                  <c:v>Удмуртская Республика</c:v>
                </c:pt>
                <c:pt idx="52">
                  <c:v>Чувашская Республика</c:v>
                </c:pt>
                <c:pt idx="53">
                  <c:v>Пермский край</c:v>
                </c:pt>
                <c:pt idx="54">
                  <c:v>Кировская область</c:v>
                </c:pt>
                <c:pt idx="55">
                  <c:v>Нижегородская область</c:v>
                </c:pt>
                <c:pt idx="56">
                  <c:v>Оренбургская область</c:v>
                </c:pt>
                <c:pt idx="57">
                  <c:v>Пензенская область</c:v>
                </c:pt>
                <c:pt idx="58">
                  <c:v>Самарская область</c:v>
                </c:pt>
                <c:pt idx="59">
                  <c:v>Саратовская область</c:v>
                </c:pt>
                <c:pt idx="60">
                  <c:v>Ульяновская область</c:v>
                </c:pt>
                <c:pt idx="61">
                  <c:v>Курганская область</c:v>
                </c:pt>
                <c:pt idx="62">
                  <c:v>Свердловская область</c:v>
                </c:pt>
                <c:pt idx="63">
                  <c:v>Тюменская область</c:v>
                </c:pt>
                <c:pt idx="64">
                  <c:v>Ханты-Мансийский автономный округ-Югра</c:v>
                </c:pt>
                <c:pt idx="65">
                  <c:v>Ямало-Ненецкий автономный округ</c:v>
                </c:pt>
                <c:pt idx="66">
                  <c:v>Тюменская область (без автономных округов)</c:v>
                </c:pt>
                <c:pt idx="67">
                  <c:v>Челябинская область</c:v>
                </c:pt>
                <c:pt idx="68">
                  <c:v>Республика Алтай</c:v>
                </c:pt>
                <c:pt idx="69">
                  <c:v>Республика Бурятия</c:v>
                </c:pt>
                <c:pt idx="70">
                  <c:v>Республика Тыва</c:v>
                </c:pt>
                <c:pt idx="71">
                  <c:v>Республика Хакасия</c:v>
                </c:pt>
                <c:pt idx="72">
                  <c:v>Алтайский край</c:v>
                </c:pt>
                <c:pt idx="73">
                  <c:v>Забайкальский край</c:v>
                </c:pt>
                <c:pt idx="74">
                  <c:v>Красноярский край</c:v>
                </c:pt>
                <c:pt idx="75">
                  <c:v>Иркутская область</c:v>
                </c:pt>
                <c:pt idx="76">
                  <c:v>Кемеровская область</c:v>
                </c:pt>
                <c:pt idx="77">
                  <c:v>Новосибирская область</c:v>
                </c:pt>
                <c:pt idx="78">
                  <c:v>Омская область</c:v>
                </c:pt>
                <c:pt idx="79">
                  <c:v>Томская область</c:v>
                </c:pt>
                <c:pt idx="80">
                  <c:v>Республика Саха (Якутия)</c:v>
                </c:pt>
                <c:pt idx="81">
                  <c:v>Камчатский край</c:v>
                </c:pt>
                <c:pt idx="82">
                  <c:v>Приморский край</c:v>
                </c:pt>
                <c:pt idx="83">
                  <c:v>Хабаровский край</c:v>
                </c:pt>
                <c:pt idx="84">
                  <c:v>Амурская область</c:v>
                </c:pt>
                <c:pt idx="85">
                  <c:v>Магаданская область</c:v>
                </c:pt>
                <c:pt idx="86">
                  <c:v>Сахалинская область</c:v>
                </c:pt>
                <c:pt idx="87">
                  <c:v>Еврейская автономная область</c:v>
                </c:pt>
                <c:pt idx="88">
                  <c:v>Чукотский автономный округ</c:v>
                </c:pt>
              </c:strCache>
            </c:strRef>
          </c:cat>
          <c:val>
            <c:numRef>
              <c:f>'Загрузка по регионам'!$I$7:$I$102</c:f>
              <c:numCache>
                <c:formatCode>0.00%</c:formatCode>
                <c:ptCount val="89"/>
                <c:pt idx="0">
                  <c:v>0.53489875113247831</c:v>
                </c:pt>
                <c:pt idx="1">
                  <c:v>0.52729123662976163</c:v>
                </c:pt>
                <c:pt idx="2">
                  <c:v>0.48227762122717571</c:v>
                </c:pt>
                <c:pt idx="3">
                  <c:v>0.48705267080292164</c:v>
                </c:pt>
                <c:pt idx="4">
                  <c:v>0.36339323099204823</c:v>
                </c:pt>
                <c:pt idx="5">
                  <c:v>0.50453445811244801</c:v>
                </c:pt>
                <c:pt idx="6">
                  <c:v>0.40155978711492535</c:v>
                </c:pt>
                <c:pt idx="7">
                  <c:v>0.50396729319316125</c:v>
                </c:pt>
                <c:pt idx="8">
                  <c:v>0.38521895200173484</c:v>
                </c:pt>
                <c:pt idx="9">
                  <c:v>0.40781433195378342</c:v>
                </c:pt>
                <c:pt idx="10">
                  <c:v>0.56531711380798177</c:v>
                </c:pt>
                <c:pt idx="11">
                  <c:v>0.48690989357681586</c:v>
                </c:pt>
                <c:pt idx="12">
                  <c:v>0.52431122919098228</c:v>
                </c:pt>
                <c:pt idx="13">
                  <c:v>0.38974912001434886</c:v>
                </c:pt>
                <c:pt idx="14">
                  <c:v>0.42477676546441856</c:v>
                </c:pt>
                <c:pt idx="15">
                  <c:v>0.36179693572297905</c:v>
                </c:pt>
                <c:pt idx="16">
                  <c:v>0.65013333738768186</c:v>
                </c:pt>
                <c:pt idx="17">
                  <c:v>0.50753412200459258</c:v>
                </c:pt>
                <c:pt idx="18">
                  <c:v>0.7653515341777658</c:v>
                </c:pt>
                <c:pt idx="19">
                  <c:v>0.53738262571258411</c:v>
                </c:pt>
                <c:pt idx="20">
                  <c:v>0.53676931901586977</c:v>
                </c:pt>
                <c:pt idx="21">
                  <c:v>0.59613977189459488</c:v>
                </c:pt>
                <c:pt idx="22">
                  <c:v>0.7391570073761855</c:v>
                </c:pt>
                <c:pt idx="23">
                  <c:v>0.59143416742256605</c:v>
                </c:pt>
                <c:pt idx="24">
                  <c:v>0.41150513455055632</c:v>
                </c:pt>
                <c:pt idx="25">
                  <c:v>0.5692503387023935</c:v>
                </c:pt>
                <c:pt idx="26">
                  <c:v>0.45305778868084551</c:v>
                </c:pt>
                <c:pt idx="27">
                  <c:v>0.44837756394392442</c:v>
                </c:pt>
                <c:pt idx="28">
                  <c:v>0.58629268139324187</c:v>
                </c:pt>
                <c:pt idx="29">
                  <c:v>0.47273240746321343</c:v>
                </c:pt>
                <c:pt idx="30">
                  <c:v>0.8790921350513321</c:v>
                </c:pt>
                <c:pt idx="31">
                  <c:v>0.16657485712899037</c:v>
                </c:pt>
                <c:pt idx="32">
                  <c:v>0.30818003913894326</c:v>
                </c:pt>
                <c:pt idx="33">
                  <c:v>0.38574251275852811</c:v>
                </c:pt>
                <c:pt idx="34">
                  <c:v>0.57827003017368905</c:v>
                </c:pt>
                <c:pt idx="35">
                  <c:v>0.3964886698469765</c:v>
                </c:pt>
                <c:pt idx="36">
                  <c:v>0.49014001508510735</c:v>
                </c:pt>
                <c:pt idx="37">
                  <c:v>0.46586642030574132</c:v>
                </c:pt>
                <c:pt idx="38">
                  <c:v>0.21474381875394769</c:v>
                </c:pt>
                <c:pt idx="39">
                  <c:v>0.3780088773579548</c:v>
                </c:pt>
                <c:pt idx="40">
                  <c:v>0.53635906606383699</c:v>
                </c:pt>
                <c:pt idx="41">
                  <c:v>0.76660390832954617</c:v>
                </c:pt>
                <c:pt idx="42">
                  <c:v>0.28229634737502962</c:v>
                </c:pt>
                <c:pt idx="43">
                  <c:v>0.46663008606202577</c:v>
                </c:pt>
                <c:pt idx="44">
                  <c:v>0.5766265184802275</c:v>
                </c:pt>
                <c:pt idx="45">
                  <c:v>0.15555575504048547</c:v>
                </c:pt>
                <c:pt idx="46">
                  <c:v>0.35553466726264032</c:v>
                </c:pt>
                <c:pt idx="47">
                  <c:v>0.43296068752940187</c:v>
                </c:pt>
                <c:pt idx="48">
                  <c:v>0.49920717379837282</c:v>
                </c:pt>
                <c:pt idx="49">
                  <c:v>0.48634406150912901</c:v>
                </c:pt>
                <c:pt idx="50">
                  <c:v>0.57158768273084859</c:v>
                </c:pt>
                <c:pt idx="51">
                  <c:v>0.51402264474984549</c:v>
                </c:pt>
                <c:pt idx="52">
                  <c:v>0.50550658047486963</c:v>
                </c:pt>
                <c:pt idx="53">
                  <c:v>0.64712944939405059</c:v>
                </c:pt>
                <c:pt idx="54">
                  <c:v>0.50804151997017211</c:v>
                </c:pt>
                <c:pt idx="55">
                  <c:v>0.6383515533022408</c:v>
                </c:pt>
                <c:pt idx="56">
                  <c:v>0.38789634062645839</c:v>
                </c:pt>
                <c:pt idx="57">
                  <c:v>0.41525033337374229</c:v>
                </c:pt>
                <c:pt idx="58">
                  <c:v>0.62004293479581674</c:v>
                </c:pt>
                <c:pt idx="59">
                  <c:v>0.25936618939075401</c:v>
                </c:pt>
                <c:pt idx="60">
                  <c:v>0.89436564179985378</c:v>
                </c:pt>
                <c:pt idx="61">
                  <c:v>0.51209311419000825</c:v>
                </c:pt>
                <c:pt idx="62">
                  <c:v>0.62901083060197727</c:v>
                </c:pt>
                <c:pt idx="63">
                  <c:v>0.48181838379770742</c:v>
                </c:pt>
                <c:pt idx="64">
                  <c:v>0.49981086247698164</c:v>
                </c:pt>
                <c:pt idx="65">
                  <c:v>0.44919194586565442</c:v>
                </c:pt>
                <c:pt idx="66">
                  <c:v>0.47353117607240802</c:v>
                </c:pt>
                <c:pt idx="67">
                  <c:v>0.41863956378719247</c:v>
                </c:pt>
                <c:pt idx="68">
                  <c:v>0.32353830311729648</c:v>
                </c:pt>
                <c:pt idx="69">
                  <c:v>0.3441150168415017</c:v>
                </c:pt>
                <c:pt idx="70">
                  <c:v>0.58380304626879964</c:v>
                </c:pt>
                <c:pt idx="71">
                  <c:v>0.60592665260375633</c:v>
                </c:pt>
                <c:pt idx="72">
                  <c:v>0.46873153959504449</c:v>
                </c:pt>
                <c:pt idx="73">
                  <c:v>0.43379372472661315</c:v>
                </c:pt>
                <c:pt idx="74">
                  <c:v>0.45248135419290869</c:v>
                </c:pt>
                <c:pt idx="75">
                  <c:v>0.36610437493561609</c:v>
                </c:pt>
                <c:pt idx="76">
                  <c:v>0.45221567263279849</c:v>
                </c:pt>
                <c:pt idx="77">
                  <c:v>0.5676735451687549</c:v>
                </c:pt>
                <c:pt idx="78">
                  <c:v>0.50703929484176302</c:v>
                </c:pt>
                <c:pt idx="79">
                  <c:v>0.12646846304380552</c:v>
                </c:pt>
                <c:pt idx="80">
                  <c:v>0.65506006216991508</c:v>
                </c:pt>
                <c:pt idx="81">
                  <c:v>0.57198543436795557</c:v>
                </c:pt>
                <c:pt idx="82">
                  <c:v>0.39651796963392938</c:v>
                </c:pt>
                <c:pt idx="83">
                  <c:v>0.54572396381093313</c:v>
                </c:pt>
                <c:pt idx="84">
                  <c:v>0.33590284695476724</c:v>
                </c:pt>
                <c:pt idx="85">
                  <c:v>0.66104858334042371</c:v>
                </c:pt>
                <c:pt idx="86">
                  <c:v>0.54114199706594024</c:v>
                </c:pt>
                <c:pt idx="87">
                  <c:v>0.30876365528004163</c:v>
                </c:pt>
                <c:pt idx="88">
                  <c:v>0.19183651144867364</c:v>
                </c:pt>
              </c:numCache>
            </c:numRef>
          </c:val>
          <c:smooth val="0"/>
        </c:ser>
        <c:ser>
          <c:idx val="8"/>
          <c:order val="8"/>
          <c:tx>
            <c:strRef>
              <c:f>'Загрузка по регионам'!$J$6</c:f>
              <c:strCache>
                <c:ptCount val="1"/>
                <c:pt idx="0">
                  <c:v>Неудовлетворенный спрос</c:v>
                </c:pt>
              </c:strCache>
            </c:strRef>
          </c:tx>
          <c:spPr>
            <a:ln w="28575" cap="rnd">
              <a:solidFill>
                <a:schemeClr val="accent3">
                  <a:lumMod val="60000"/>
                </a:schemeClr>
              </a:solidFill>
              <a:round/>
            </a:ln>
            <a:effectLst/>
          </c:spPr>
          <c:marker>
            <c:symbol val="none"/>
          </c:marker>
          <c:dLbls>
            <c:dLbl>
              <c:idx val="80"/>
              <c:layout>
                <c:manualLayout>
                  <c:x val="-4.3724279171259654E-3"/>
                  <c:y val="-4.4495766513256915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86"/>
              <c:layout>
                <c:manualLayout>
                  <c:x val="0"/>
                  <c:y val="-4.187836848306533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ru-RU"/>
              </a:p>
            </c:txPr>
            <c:showLegendKey val="0"/>
            <c:showVal val="0"/>
            <c:showCatName val="0"/>
            <c:showSerName val="0"/>
            <c:showPercent val="0"/>
            <c:showBubbleSize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Загрузка по регионам'!$A$7:$A$102</c:f>
              <c:strCache>
                <c:ptCount val="89"/>
                <c:pt idx="0">
                  <c:v>Российская Федерация</c:v>
                </c:pt>
                <c:pt idx="1">
                  <c:v>Белгородская область</c:v>
                </c:pt>
                <c:pt idx="2">
                  <c:v>Брянская область</c:v>
                </c:pt>
                <c:pt idx="3">
                  <c:v>Владимирская область</c:v>
                </c:pt>
                <c:pt idx="4">
                  <c:v>Воронежская область</c:v>
                </c:pt>
                <c:pt idx="5">
                  <c:v>Ивановская область</c:v>
                </c:pt>
                <c:pt idx="6">
                  <c:v>Калужская область</c:v>
                </c:pt>
                <c:pt idx="7">
                  <c:v>Костромская область</c:v>
                </c:pt>
                <c:pt idx="8">
                  <c:v>Курская область</c:v>
                </c:pt>
                <c:pt idx="9">
                  <c:v>Липецкая область</c:v>
                </c:pt>
                <c:pt idx="10">
                  <c:v>Московская область</c:v>
                </c:pt>
                <c:pt idx="11">
                  <c:v>Орловская область</c:v>
                </c:pt>
                <c:pt idx="12">
                  <c:v>Рязанская область</c:v>
                </c:pt>
                <c:pt idx="13">
                  <c:v>Смоленская область</c:v>
                </c:pt>
                <c:pt idx="14">
                  <c:v>Тамбовская область</c:v>
                </c:pt>
                <c:pt idx="15">
                  <c:v>Тверская область</c:v>
                </c:pt>
                <c:pt idx="16">
                  <c:v>Тульская область</c:v>
                </c:pt>
                <c:pt idx="17">
                  <c:v>Ярославская область</c:v>
                </c:pt>
                <c:pt idx="18">
                  <c:v>г.Москва</c:v>
                </c:pt>
                <c:pt idx="19">
                  <c:v>Республика Карелия</c:v>
                </c:pt>
                <c:pt idx="20">
                  <c:v>Республика Коми</c:v>
                </c:pt>
                <c:pt idx="21">
                  <c:v>Архангельская область</c:v>
                </c:pt>
                <c:pt idx="22">
                  <c:v>Ненецкий автономный округ</c:v>
                </c:pt>
                <c:pt idx="23">
                  <c:v>Архангельская область (без автономного округа)</c:v>
                </c:pt>
                <c:pt idx="24">
                  <c:v>Вологодская область</c:v>
                </c:pt>
                <c:pt idx="25">
                  <c:v>Калининградская область</c:v>
                </c:pt>
                <c:pt idx="26">
                  <c:v>Ленинградская область</c:v>
                </c:pt>
                <c:pt idx="27">
                  <c:v>Мурманская область</c:v>
                </c:pt>
                <c:pt idx="28">
                  <c:v>Новгородская область</c:v>
                </c:pt>
                <c:pt idx="29">
                  <c:v>Псковская область</c:v>
                </c:pt>
                <c:pt idx="30">
                  <c:v>г.Санкт-Петербург</c:v>
                </c:pt>
                <c:pt idx="31">
                  <c:v>Республика Адыгея</c:v>
                </c:pt>
                <c:pt idx="32">
                  <c:v>Республика Калмыкия</c:v>
                </c:pt>
                <c:pt idx="33">
                  <c:v>Республика Крым</c:v>
                </c:pt>
                <c:pt idx="34">
                  <c:v>Краснодарский край</c:v>
                </c:pt>
                <c:pt idx="35">
                  <c:v>Астраханская область</c:v>
                </c:pt>
                <c:pt idx="36">
                  <c:v>Волгоградская область</c:v>
                </c:pt>
                <c:pt idx="37">
                  <c:v>Ростовская область</c:v>
                </c:pt>
                <c:pt idx="38">
                  <c:v>г. Севастополь</c:v>
                </c:pt>
                <c:pt idx="39">
                  <c:v>Северо-Кавказский федеральный округ</c:v>
                </c:pt>
                <c:pt idx="40">
                  <c:v>Республика Дагестан</c:v>
                </c:pt>
                <c:pt idx="41">
                  <c:v>Республика Ингушетия</c:v>
                </c:pt>
                <c:pt idx="42">
                  <c:v>Кабардино-Балкарская Республика</c:v>
                </c:pt>
                <c:pt idx="43">
                  <c:v>Карачаево-Черкесская Республика</c:v>
                </c:pt>
                <c:pt idx="44">
                  <c:v>Республика Северная Осетия - Алания</c:v>
                </c:pt>
                <c:pt idx="45">
                  <c:v>Чеченская Республика</c:v>
                </c:pt>
                <c:pt idx="46">
                  <c:v>Ставропольский край</c:v>
                </c:pt>
                <c:pt idx="47">
                  <c:v>Республика Башкортостан</c:v>
                </c:pt>
                <c:pt idx="48">
                  <c:v>Республика Марий Эл</c:v>
                </c:pt>
                <c:pt idx="49">
                  <c:v>Республика Мордовия</c:v>
                </c:pt>
                <c:pt idx="50">
                  <c:v>Республика Татарстан</c:v>
                </c:pt>
                <c:pt idx="51">
                  <c:v>Удмуртская Республика</c:v>
                </c:pt>
                <c:pt idx="52">
                  <c:v>Чувашская Республика</c:v>
                </c:pt>
                <c:pt idx="53">
                  <c:v>Пермский край</c:v>
                </c:pt>
                <c:pt idx="54">
                  <c:v>Кировская область</c:v>
                </c:pt>
                <c:pt idx="55">
                  <c:v>Нижегородская область</c:v>
                </c:pt>
                <c:pt idx="56">
                  <c:v>Оренбургская область</c:v>
                </c:pt>
                <c:pt idx="57">
                  <c:v>Пензенская область</c:v>
                </c:pt>
                <c:pt idx="58">
                  <c:v>Самарская область</c:v>
                </c:pt>
                <c:pt idx="59">
                  <c:v>Саратовская область</c:v>
                </c:pt>
                <c:pt idx="60">
                  <c:v>Ульяновская область</c:v>
                </c:pt>
                <c:pt idx="61">
                  <c:v>Курганская область</c:v>
                </c:pt>
                <c:pt idx="62">
                  <c:v>Свердловская область</c:v>
                </c:pt>
                <c:pt idx="63">
                  <c:v>Тюменская область</c:v>
                </c:pt>
                <c:pt idx="64">
                  <c:v>Ханты-Мансийский автономный округ-Югра</c:v>
                </c:pt>
                <c:pt idx="65">
                  <c:v>Ямало-Ненецкий автономный округ</c:v>
                </c:pt>
                <c:pt idx="66">
                  <c:v>Тюменская область (без автономных округов)</c:v>
                </c:pt>
                <c:pt idx="67">
                  <c:v>Челябинская область</c:v>
                </c:pt>
                <c:pt idx="68">
                  <c:v>Республика Алтай</c:v>
                </c:pt>
                <c:pt idx="69">
                  <c:v>Республика Бурятия</c:v>
                </c:pt>
                <c:pt idx="70">
                  <c:v>Республика Тыва</c:v>
                </c:pt>
                <c:pt idx="71">
                  <c:v>Республика Хакасия</c:v>
                </c:pt>
                <c:pt idx="72">
                  <c:v>Алтайский край</c:v>
                </c:pt>
                <c:pt idx="73">
                  <c:v>Забайкальский край</c:v>
                </c:pt>
                <c:pt idx="74">
                  <c:v>Красноярский край</c:v>
                </c:pt>
                <c:pt idx="75">
                  <c:v>Иркутская область</c:v>
                </c:pt>
                <c:pt idx="76">
                  <c:v>Кемеровская область</c:v>
                </c:pt>
                <c:pt idx="77">
                  <c:v>Новосибирская область</c:v>
                </c:pt>
                <c:pt idx="78">
                  <c:v>Омская область</c:v>
                </c:pt>
                <c:pt idx="79">
                  <c:v>Томская область</c:v>
                </c:pt>
                <c:pt idx="80">
                  <c:v>Республика Саха (Якутия)</c:v>
                </c:pt>
                <c:pt idx="81">
                  <c:v>Камчатский край</c:v>
                </c:pt>
                <c:pt idx="82">
                  <c:v>Приморский край</c:v>
                </c:pt>
                <c:pt idx="83">
                  <c:v>Хабаровский край</c:v>
                </c:pt>
                <c:pt idx="84">
                  <c:v>Амурская область</c:v>
                </c:pt>
                <c:pt idx="85">
                  <c:v>Магаданская область</c:v>
                </c:pt>
                <c:pt idx="86">
                  <c:v>Сахалинская область</c:v>
                </c:pt>
                <c:pt idx="87">
                  <c:v>Еврейская автономная область</c:v>
                </c:pt>
                <c:pt idx="88">
                  <c:v>Чукотский автономный округ</c:v>
                </c:pt>
              </c:strCache>
            </c:strRef>
          </c:cat>
          <c:val>
            <c:numRef>
              <c:f>'Загрузка по регионам'!$J$7:$J$102</c:f>
              <c:numCache>
                <c:formatCode>0%</c:formatCode>
                <c:ptCount val="89"/>
                <c:pt idx="0">
                  <c:v>0.65</c:v>
                </c:pt>
                <c:pt idx="1">
                  <c:v>0.65</c:v>
                </c:pt>
                <c:pt idx="2">
                  <c:v>0.65</c:v>
                </c:pt>
                <c:pt idx="3">
                  <c:v>0.65</c:v>
                </c:pt>
                <c:pt idx="4">
                  <c:v>0.65</c:v>
                </c:pt>
                <c:pt idx="5">
                  <c:v>0.65</c:v>
                </c:pt>
                <c:pt idx="6">
                  <c:v>0.65</c:v>
                </c:pt>
                <c:pt idx="7">
                  <c:v>0.65</c:v>
                </c:pt>
                <c:pt idx="8">
                  <c:v>0.65</c:v>
                </c:pt>
                <c:pt idx="9">
                  <c:v>0.65</c:v>
                </c:pt>
                <c:pt idx="10">
                  <c:v>0.65</c:v>
                </c:pt>
                <c:pt idx="11">
                  <c:v>0.65</c:v>
                </c:pt>
                <c:pt idx="12">
                  <c:v>0.65</c:v>
                </c:pt>
                <c:pt idx="13">
                  <c:v>0.65</c:v>
                </c:pt>
                <c:pt idx="14">
                  <c:v>0.65</c:v>
                </c:pt>
                <c:pt idx="15">
                  <c:v>0.65</c:v>
                </c:pt>
                <c:pt idx="16">
                  <c:v>0.65</c:v>
                </c:pt>
                <c:pt idx="17">
                  <c:v>0.65</c:v>
                </c:pt>
                <c:pt idx="18">
                  <c:v>0.65</c:v>
                </c:pt>
                <c:pt idx="19">
                  <c:v>0.65</c:v>
                </c:pt>
                <c:pt idx="20">
                  <c:v>0.65</c:v>
                </c:pt>
                <c:pt idx="21">
                  <c:v>0.65</c:v>
                </c:pt>
                <c:pt idx="22">
                  <c:v>0.65</c:v>
                </c:pt>
                <c:pt idx="23">
                  <c:v>0.65</c:v>
                </c:pt>
                <c:pt idx="24">
                  <c:v>0.65</c:v>
                </c:pt>
                <c:pt idx="25">
                  <c:v>0.65</c:v>
                </c:pt>
                <c:pt idx="26">
                  <c:v>0.65</c:v>
                </c:pt>
                <c:pt idx="27">
                  <c:v>0.65</c:v>
                </c:pt>
                <c:pt idx="28">
                  <c:v>0.65</c:v>
                </c:pt>
                <c:pt idx="29">
                  <c:v>0.65</c:v>
                </c:pt>
                <c:pt idx="30">
                  <c:v>0.65</c:v>
                </c:pt>
                <c:pt idx="31">
                  <c:v>0.65</c:v>
                </c:pt>
                <c:pt idx="32">
                  <c:v>0.65</c:v>
                </c:pt>
                <c:pt idx="33">
                  <c:v>0.65</c:v>
                </c:pt>
                <c:pt idx="34">
                  <c:v>0.65</c:v>
                </c:pt>
                <c:pt idx="35">
                  <c:v>0.65</c:v>
                </c:pt>
                <c:pt idx="36">
                  <c:v>0.65</c:v>
                </c:pt>
                <c:pt idx="37">
                  <c:v>0.65</c:v>
                </c:pt>
                <c:pt idx="38">
                  <c:v>0.65</c:v>
                </c:pt>
                <c:pt idx="39">
                  <c:v>0.65</c:v>
                </c:pt>
                <c:pt idx="40">
                  <c:v>0.65</c:v>
                </c:pt>
                <c:pt idx="41">
                  <c:v>0.65</c:v>
                </c:pt>
                <c:pt idx="42">
                  <c:v>0.65</c:v>
                </c:pt>
                <c:pt idx="43">
                  <c:v>0.65</c:v>
                </c:pt>
                <c:pt idx="44">
                  <c:v>0.65</c:v>
                </c:pt>
                <c:pt idx="45">
                  <c:v>0.65</c:v>
                </c:pt>
                <c:pt idx="46">
                  <c:v>0.65</c:v>
                </c:pt>
                <c:pt idx="47">
                  <c:v>0.65</c:v>
                </c:pt>
                <c:pt idx="48">
                  <c:v>0.65</c:v>
                </c:pt>
                <c:pt idx="49">
                  <c:v>0.65</c:v>
                </c:pt>
                <c:pt idx="50">
                  <c:v>0.65</c:v>
                </c:pt>
                <c:pt idx="51">
                  <c:v>0.65</c:v>
                </c:pt>
                <c:pt idx="52">
                  <c:v>0.65</c:v>
                </c:pt>
                <c:pt idx="53">
                  <c:v>0.65</c:v>
                </c:pt>
                <c:pt idx="54">
                  <c:v>0.65</c:v>
                </c:pt>
                <c:pt idx="55">
                  <c:v>0.65</c:v>
                </c:pt>
                <c:pt idx="56">
                  <c:v>0.65</c:v>
                </c:pt>
                <c:pt idx="57">
                  <c:v>0.65</c:v>
                </c:pt>
                <c:pt idx="58">
                  <c:v>0.65</c:v>
                </c:pt>
                <c:pt idx="59">
                  <c:v>0.65</c:v>
                </c:pt>
                <c:pt idx="60">
                  <c:v>0.65</c:v>
                </c:pt>
                <c:pt idx="61">
                  <c:v>0.65</c:v>
                </c:pt>
                <c:pt idx="62">
                  <c:v>0.65</c:v>
                </c:pt>
                <c:pt idx="63">
                  <c:v>0.65</c:v>
                </c:pt>
                <c:pt idx="64">
                  <c:v>0.65</c:v>
                </c:pt>
                <c:pt idx="65">
                  <c:v>0.65</c:v>
                </c:pt>
                <c:pt idx="66">
                  <c:v>0.65</c:v>
                </c:pt>
                <c:pt idx="67">
                  <c:v>0.65</c:v>
                </c:pt>
                <c:pt idx="68">
                  <c:v>0.65</c:v>
                </c:pt>
                <c:pt idx="69">
                  <c:v>0.65</c:v>
                </c:pt>
                <c:pt idx="70">
                  <c:v>0.65</c:v>
                </c:pt>
                <c:pt idx="71">
                  <c:v>0.65</c:v>
                </c:pt>
                <c:pt idx="72">
                  <c:v>0.65</c:v>
                </c:pt>
                <c:pt idx="73">
                  <c:v>0.65</c:v>
                </c:pt>
                <c:pt idx="74">
                  <c:v>0.65</c:v>
                </c:pt>
                <c:pt idx="75">
                  <c:v>0.65</c:v>
                </c:pt>
                <c:pt idx="76">
                  <c:v>0.65</c:v>
                </c:pt>
                <c:pt idx="77">
                  <c:v>0.65</c:v>
                </c:pt>
                <c:pt idx="78">
                  <c:v>0.65</c:v>
                </c:pt>
                <c:pt idx="79">
                  <c:v>0.65</c:v>
                </c:pt>
                <c:pt idx="80">
                  <c:v>0.65</c:v>
                </c:pt>
                <c:pt idx="81">
                  <c:v>0.65</c:v>
                </c:pt>
                <c:pt idx="82">
                  <c:v>0.65</c:v>
                </c:pt>
                <c:pt idx="83">
                  <c:v>0.65</c:v>
                </c:pt>
                <c:pt idx="84">
                  <c:v>0.65</c:v>
                </c:pt>
                <c:pt idx="85">
                  <c:v>0.65</c:v>
                </c:pt>
                <c:pt idx="86">
                  <c:v>0.65</c:v>
                </c:pt>
                <c:pt idx="87">
                  <c:v>0.65</c:v>
                </c:pt>
                <c:pt idx="88">
                  <c:v>0.65</c:v>
                </c:pt>
              </c:numCache>
            </c:numRef>
          </c:val>
          <c:smooth val="0"/>
        </c:ser>
        <c:dLbls>
          <c:showLegendKey val="0"/>
          <c:showVal val="0"/>
          <c:showCatName val="0"/>
          <c:showSerName val="0"/>
          <c:showPercent val="0"/>
          <c:showBubbleSize val="0"/>
        </c:dLbls>
        <c:marker val="1"/>
        <c:smooth val="0"/>
        <c:axId val="394015968"/>
        <c:axId val="394015576"/>
      </c:lineChart>
      <c:lineChart>
        <c:grouping val="standard"/>
        <c:varyColors val="0"/>
        <c:ser>
          <c:idx val="0"/>
          <c:order val="0"/>
          <c:tx>
            <c:strRef>
              <c:f>'Загрузка по регионам'!$B$6</c:f>
              <c:strCache>
                <c:ptCount val="1"/>
                <c:pt idx="0">
                  <c:v>2015</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Загрузка по регионам'!$A$7:$A$102</c:f>
              <c:strCache>
                <c:ptCount val="89"/>
                <c:pt idx="0">
                  <c:v>Российская Федерация</c:v>
                </c:pt>
                <c:pt idx="1">
                  <c:v>Белгородская область</c:v>
                </c:pt>
                <c:pt idx="2">
                  <c:v>Брянская область</c:v>
                </c:pt>
                <c:pt idx="3">
                  <c:v>Владимирская область</c:v>
                </c:pt>
                <c:pt idx="4">
                  <c:v>Воронежская область</c:v>
                </c:pt>
                <c:pt idx="5">
                  <c:v>Ивановская область</c:v>
                </c:pt>
                <c:pt idx="6">
                  <c:v>Калужская область</c:v>
                </c:pt>
                <c:pt idx="7">
                  <c:v>Костромская область</c:v>
                </c:pt>
                <c:pt idx="8">
                  <c:v>Курская область</c:v>
                </c:pt>
                <c:pt idx="9">
                  <c:v>Липецкая область</c:v>
                </c:pt>
                <c:pt idx="10">
                  <c:v>Московская область</c:v>
                </c:pt>
                <c:pt idx="11">
                  <c:v>Орловская область</c:v>
                </c:pt>
                <c:pt idx="12">
                  <c:v>Рязанская область</c:v>
                </c:pt>
                <c:pt idx="13">
                  <c:v>Смоленская область</c:v>
                </c:pt>
                <c:pt idx="14">
                  <c:v>Тамбовская область</c:v>
                </c:pt>
                <c:pt idx="15">
                  <c:v>Тверская область</c:v>
                </c:pt>
                <c:pt idx="16">
                  <c:v>Тульская область</c:v>
                </c:pt>
                <c:pt idx="17">
                  <c:v>Ярославская область</c:v>
                </c:pt>
                <c:pt idx="18">
                  <c:v>г.Москва</c:v>
                </c:pt>
                <c:pt idx="19">
                  <c:v>Республика Карелия</c:v>
                </c:pt>
                <c:pt idx="20">
                  <c:v>Республика Коми</c:v>
                </c:pt>
                <c:pt idx="21">
                  <c:v>Архангельская область</c:v>
                </c:pt>
                <c:pt idx="22">
                  <c:v>Ненецкий автономный округ</c:v>
                </c:pt>
                <c:pt idx="23">
                  <c:v>Архангельская область (без автономного округа)</c:v>
                </c:pt>
                <c:pt idx="24">
                  <c:v>Вологодская область</c:v>
                </c:pt>
                <c:pt idx="25">
                  <c:v>Калининградская область</c:v>
                </c:pt>
                <c:pt idx="26">
                  <c:v>Ленинградская область</c:v>
                </c:pt>
                <c:pt idx="27">
                  <c:v>Мурманская область</c:v>
                </c:pt>
                <c:pt idx="28">
                  <c:v>Новгородская область</c:v>
                </c:pt>
                <c:pt idx="29">
                  <c:v>Псковская область</c:v>
                </c:pt>
                <c:pt idx="30">
                  <c:v>г.Санкт-Петербург</c:v>
                </c:pt>
                <c:pt idx="31">
                  <c:v>Республика Адыгея</c:v>
                </c:pt>
                <c:pt idx="32">
                  <c:v>Республика Калмыкия</c:v>
                </c:pt>
                <c:pt idx="33">
                  <c:v>Республика Крым</c:v>
                </c:pt>
                <c:pt idx="34">
                  <c:v>Краснодарский край</c:v>
                </c:pt>
                <c:pt idx="35">
                  <c:v>Астраханская область</c:v>
                </c:pt>
                <c:pt idx="36">
                  <c:v>Волгоградская область</c:v>
                </c:pt>
                <c:pt idx="37">
                  <c:v>Ростовская область</c:v>
                </c:pt>
                <c:pt idx="38">
                  <c:v>г. Севастополь</c:v>
                </c:pt>
                <c:pt idx="39">
                  <c:v>Северо-Кавказский федеральный округ</c:v>
                </c:pt>
                <c:pt idx="40">
                  <c:v>Республика Дагестан</c:v>
                </c:pt>
                <c:pt idx="41">
                  <c:v>Республика Ингушетия</c:v>
                </c:pt>
                <c:pt idx="42">
                  <c:v>Кабардино-Балкарская Республика</c:v>
                </c:pt>
                <c:pt idx="43">
                  <c:v>Карачаево-Черкесская Республика</c:v>
                </c:pt>
                <c:pt idx="44">
                  <c:v>Республика Северная Осетия - Алания</c:v>
                </c:pt>
                <c:pt idx="45">
                  <c:v>Чеченская Республика</c:v>
                </c:pt>
                <c:pt idx="46">
                  <c:v>Ставропольский край</c:v>
                </c:pt>
                <c:pt idx="47">
                  <c:v>Республика Башкортостан</c:v>
                </c:pt>
                <c:pt idx="48">
                  <c:v>Республика Марий Эл</c:v>
                </c:pt>
                <c:pt idx="49">
                  <c:v>Республика Мордовия</c:v>
                </c:pt>
                <c:pt idx="50">
                  <c:v>Республика Татарстан</c:v>
                </c:pt>
                <c:pt idx="51">
                  <c:v>Удмуртская Республика</c:v>
                </c:pt>
                <c:pt idx="52">
                  <c:v>Чувашская Республика</c:v>
                </c:pt>
                <c:pt idx="53">
                  <c:v>Пермский край</c:v>
                </c:pt>
                <c:pt idx="54">
                  <c:v>Кировская область</c:v>
                </c:pt>
                <c:pt idx="55">
                  <c:v>Нижегородская область</c:v>
                </c:pt>
                <c:pt idx="56">
                  <c:v>Оренбургская область</c:v>
                </c:pt>
                <c:pt idx="57">
                  <c:v>Пензенская область</c:v>
                </c:pt>
                <c:pt idx="58">
                  <c:v>Самарская область</c:v>
                </c:pt>
                <c:pt idx="59">
                  <c:v>Саратовская область</c:v>
                </c:pt>
                <c:pt idx="60">
                  <c:v>Ульяновская область</c:v>
                </c:pt>
                <c:pt idx="61">
                  <c:v>Курганская область</c:v>
                </c:pt>
                <c:pt idx="62">
                  <c:v>Свердловская область</c:v>
                </c:pt>
                <c:pt idx="63">
                  <c:v>Тюменская область</c:v>
                </c:pt>
                <c:pt idx="64">
                  <c:v>Ханты-Мансийский автономный округ-Югра</c:v>
                </c:pt>
                <c:pt idx="65">
                  <c:v>Ямало-Ненецкий автономный округ</c:v>
                </c:pt>
                <c:pt idx="66">
                  <c:v>Тюменская область (без автономных округов)</c:v>
                </c:pt>
                <c:pt idx="67">
                  <c:v>Челябинская область</c:v>
                </c:pt>
                <c:pt idx="68">
                  <c:v>Республика Алтай</c:v>
                </c:pt>
                <c:pt idx="69">
                  <c:v>Республика Бурятия</c:v>
                </c:pt>
                <c:pt idx="70">
                  <c:v>Республика Тыва</c:v>
                </c:pt>
                <c:pt idx="71">
                  <c:v>Республика Хакасия</c:v>
                </c:pt>
                <c:pt idx="72">
                  <c:v>Алтайский край</c:v>
                </c:pt>
                <c:pt idx="73">
                  <c:v>Забайкальский край</c:v>
                </c:pt>
                <c:pt idx="74">
                  <c:v>Красноярский край</c:v>
                </c:pt>
                <c:pt idx="75">
                  <c:v>Иркутская область</c:v>
                </c:pt>
                <c:pt idx="76">
                  <c:v>Кемеровская область</c:v>
                </c:pt>
                <c:pt idx="77">
                  <c:v>Новосибирская область</c:v>
                </c:pt>
                <c:pt idx="78">
                  <c:v>Омская область</c:v>
                </c:pt>
                <c:pt idx="79">
                  <c:v>Томская область</c:v>
                </c:pt>
                <c:pt idx="80">
                  <c:v>Республика Саха (Якутия)</c:v>
                </c:pt>
                <c:pt idx="81">
                  <c:v>Камчатский край</c:v>
                </c:pt>
                <c:pt idx="82">
                  <c:v>Приморский край</c:v>
                </c:pt>
                <c:pt idx="83">
                  <c:v>Хабаровский край</c:v>
                </c:pt>
                <c:pt idx="84">
                  <c:v>Амурская область</c:v>
                </c:pt>
                <c:pt idx="85">
                  <c:v>Магаданская область</c:v>
                </c:pt>
                <c:pt idx="86">
                  <c:v>Сахалинская область</c:v>
                </c:pt>
                <c:pt idx="87">
                  <c:v>Еврейская автономная область</c:v>
                </c:pt>
                <c:pt idx="88">
                  <c:v>Чукотский автономный округ</c:v>
                </c:pt>
              </c:strCache>
            </c:strRef>
          </c:cat>
          <c:val>
            <c:numRef>
              <c:f>'Загрузка по регионам'!$B$7:$B$102</c:f>
            </c:numRef>
          </c:val>
          <c:smooth val="0"/>
        </c:ser>
        <c:ser>
          <c:idx val="1"/>
          <c:order val="1"/>
          <c:tx>
            <c:strRef>
              <c:f>'Загрузка по регионам'!$C$6</c:f>
              <c:strCache>
                <c:ptCount val="1"/>
                <c:pt idx="0">
                  <c:v>2015</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Загрузка по регионам'!$A$7:$A$102</c:f>
              <c:strCache>
                <c:ptCount val="89"/>
                <c:pt idx="0">
                  <c:v>Российская Федерация</c:v>
                </c:pt>
                <c:pt idx="1">
                  <c:v>Белгородская область</c:v>
                </c:pt>
                <c:pt idx="2">
                  <c:v>Брянская область</c:v>
                </c:pt>
                <c:pt idx="3">
                  <c:v>Владимирская область</c:v>
                </c:pt>
                <c:pt idx="4">
                  <c:v>Воронежская область</c:v>
                </c:pt>
                <c:pt idx="5">
                  <c:v>Ивановская область</c:v>
                </c:pt>
                <c:pt idx="6">
                  <c:v>Калужская область</c:v>
                </c:pt>
                <c:pt idx="7">
                  <c:v>Костромская область</c:v>
                </c:pt>
                <c:pt idx="8">
                  <c:v>Курская область</c:v>
                </c:pt>
                <c:pt idx="9">
                  <c:v>Липецкая область</c:v>
                </c:pt>
                <c:pt idx="10">
                  <c:v>Московская область</c:v>
                </c:pt>
                <c:pt idx="11">
                  <c:v>Орловская область</c:v>
                </c:pt>
                <c:pt idx="12">
                  <c:v>Рязанская область</c:v>
                </c:pt>
                <c:pt idx="13">
                  <c:v>Смоленская область</c:v>
                </c:pt>
                <c:pt idx="14">
                  <c:v>Тамбовская область</c:v>
                </c:pt>
                <c:pt idx="15">
                  <c:v>Тверская область</c:v>
                </c:pt>
                <c:pt idx="16">
                  <c:v>Тульская область</c:v>
                </c:pt>
                <c:pt idx="17">
                  <c:v>Ярославская область</c:v>
                </c:pt>
                <c:pt idx="18">
                  <c:v>г.Москва</c:v>
                </c:pt>
                <c:pt idx="19">
                  <c:v>Республика Карелия</c:v>
                </c:pt>
                <c:pt idx="20">
                  <c:v>Республика Коми</c:v>
                </c:pt>
                <c:pt idx="21">
                  <c:v>Архангельская область</c:v>
                </c:pt>
                <c:pt idx="22">
                  <c:v>Ненецкий автономный округ</c:v>
                </c:pt>
                <c:pt idx="23">
                  <c:v>Архангельская область (без автономного округа)</c:v>
                </c:pt>
                <c:pt idx="24">
                  <c:v>Вологодская область</c:v>
                </c:pt>
                <c:pt idx="25">
                  <c:v>Калининградская область</c:v>
                </c:pt>
                <c:pt idx="26">
                  <c:v>Ленинградская область</c:v>
                </c:pt>
                <c:pt idx="27">
                  <c:v>Мурманская область</c:v>
                </c:pt>
                <c:pt idx="28">
                  <c:v>Новгородская область</c:v>
                </c:pt>
                <c:pt idx="29">
                  <c:v>Псковская область</c:v>
                </c:pt>
                <c:pt idx="30">
                  <c:v>г.Санкт-Петербург</c:v>
                </c:pt>
                <c:pt idx="31">
                  <c:v>Республика Адыгея</c:v>
                </c:pt>
                <c:pt idx="32">
                  <c:v>Республика Калмыкия</c:v>
                </c:pt>
                <c:pt idx="33">
                  <c:v>Республика Крым</c:v>
                </c:pt>
                <c:pt idx="34">
                  <c:v>Краснодарский край</c:v>
                </c:pt>
                <c:pt idx="35">
                  <c:v>Астраханская область</c:v>
                </c:pt>
                <c:pt idx="36">
                  <c:v>Волгоградская область</c:v>
                </c:pt>
                <c:pt idx="37">
                  <c:v>Ростовская область</c:v>
                </c:pt>
                <c:pt idx="38">
                  <c:v>г. Севастополь</c:v>
                </c:pt>
                <c:pt idx="39">
                  <c:v>Северо-Кавказский федеральный округ</c:v>
                </c:pt>
                <c:pt idx="40">
                  <c:v>Республика Дагестан</c:v>
                </c:pt>
                <c:pt idx="41">
                  <c:v>Республика Ингушетия</c:v>
                </c:pt>
                <c:pt idx="42">
                  <c:v>Кабардино-Балкарская Республика</c:v>
                </c:pt>
                <c:pt idx="43">
                  <c:v>Карачаево-Черкесская Республика</c:v>
                </c:pt>
                <c:pt idx="44">
                  <c:v>Республика Северная Осетия - Алания</c:v>
                </c:pt>
                <c:pt idx="45">
                  <c:v>Чеченская Республика</c:v>
                </c:pt>
                <c:pt idx="46">
                  <c:v>Ставропольский край</c:v>
                </c:pt>
                <c:pt idx="47">
                  <c:v>Республика Башкортостан</c:v>
                </c:pt>
                <c:pt idx="48">
                  <c:v>Республика Марий Эл</c:v>
                </c:pt>
                <c:pt idx="49">
                  <c:v>Республика Мордовия</c:v>
                </c:pt>
                <c:pt idx="50">
                  <c:v>Республика Татарстан</c:v>
                </c:pt>
                <c:pt idx="51">
                  <c:v>Удмуртская Республика</c:v>
                </c:pt>
                <c:pt idx="52">
                  <c:v>Чувашская Республика</c:v>
                </c:pt>
                <c:pt idx="53">
                  <c:v>Пермский край</c:v>
                </c:pt>
                <c:pt idx="54">
                  <c:v>Кировская область</c:v>
                </c:pt>
                <c:pt idx="55">
                  <c:v>Нижегородская область</c:v>
                </c:pt>
                <c:pt idx="56">
                  <c:v>Оренбургская область</c:v>
                </c:pt>
                <c:pt idx="57">
                  <c:v>Пензенская область</c:v>
                </c:pt>
                <c:pt idx="58">
                  <c:v>Самарская область</c:v>
                </c:pt>
                <c:pt idx="59">
                  <c:v>Саратовская область</c:v>
                </c:pt>
                <c:pt idx="60">
                  <c:v>Ульяновская область</c:v>
                </c:pt>
                <c:pt idx="61">
                  <c:v>Курганская область</c:v>
                </c:pt>
                <c:pt idx="62">
                  <c:v>Свердловская область</c:v>
                </c:pt>
                <c:pt idx="63">
                  <c:v>Тюменская область</c:v>
                </c:pt>
                <c:pt idx="64">
                  <c:v>Ханты-Мансийский автономный округ-Югра</c:v>
                </c:pt>
                <c:pt idx="65">
                  <c:v>Ямало-Ненецкий автономный округ</c:v>
                </c:pt>
                <c:pt idx="66">
                  <c:v>Тюменская область (без автономных округов)</c:v>
                </c:pt>
                <c:pt idx="67">
                  <c:v>Челябинская область</c:v>
                </c:pt>
                <c:pt idx="68">
                  <c:v>Республика Алтай</c:v>
                </c:pt>
                <c:pt idx="69">
                  <c:v>Республика Бурятия</c:v>
                </c:pt>
                <c:pt idx="70">
                  <c:v>Республика Тыва</c:v>
                </c:pt>
                <c:pt idx="71">
                  <c:v>Республика Хакасия</c:v>
                </c:pt>
                <c:pt idx="72">
                  <c:v>Алтайский край</c:v>
                </c:pt>
                <c:pt idx="73">
                  <c:v>Забайкальский край</c:v>
                </c:pt>
                <c:pt idx="74">
                  <c:v>Красноярский край</c:v>
                </c:pt>
                <c:pt idx="75">
                  <c:v>Иркутская область</c:v>
                </c:pt>
                <c:pt idx="76">
                  <c:v>Кемеровская область</c:v>
                </c:pt>
                <c:pt idx="77">
                  <c:v>Новосибирская область</c:v>
                </c:pt>
                <c:pt idx="78">
                  <c:v>Омская область</c:v>
                </c:pt>
                <c:pt idx="79">
                  <c:v>Томская область</c:v>
                </c:pt>
                <c:pt idx="80">
                  <c:v>Республика Саха (Якутия)</c:v>
                </c:pt>
                <c:pt idx="81">
                  <c:v>Камчатский край</c:v>
                </c:pt>
                <c:pt idx="82">
                  <c:v>Приморский край</c:v>
                </c:pt>
                <c:pt idx="83">
                  <c:v>Хабаровский край</c:v>
                </c:pt>
                <c:pt idx="84">
                  <c:v>Амурская область</c:v>
                </c:pt>
                <c:pt idx="85">
                  <c:v>Магаданская область</c:v>
                </c:pt>
                <c:pt idx="86">
                  <c:v>Сахалинская область</c:v>
                </c:pt>
                <c:pt idx="87">
                  <c:v>Еврейская автономная область</c:v>
                </c:pt>
                <c:pt idx="88">
                  <c:v>Чукотский автономный округ</c:v>
                </c:pt>
              </c:strCache>
            </c:strRef>
          </c:cat>
          <c:val>
            <c:numRef>
              <c:f>'Загрузка по регионам'!$C$7:$C$102</c:f>
            </c:numRef>
          </c:val>
          <c:smooth val="0"/>
        </c:ser>
        <c:ser>
          <c:idx val="2"/>
          <c:order val="2"/>
          <c:tx>
            <c:strRef>
              <c:f>'Загрузка по регионам'!$D$6</c:f>
              <c:strCache>
                <c:ptCount val="1"/>
                <c:pt idx="0">
                  <c:v>2015</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Загрузка по регионам'!$A$7:$A$102</c:f>
              <c:strCache>
                <c:ptCount val="89"/>
                <c:pt idx="0">
                  <c:v>Российская Федерация</c:v>
                </c:pt>
                <c:pt idx="1">
                  <c:v>Белгородская область</c:v>
                </c:pt>
                <c:pt idx="2">
                  <c:v>Брянская область</c:v>
                </c:pt>
                <c:pt idx="3">
                  <c:v>Владимирская область</c:v>
                </c:pt>
                <c:pt idx="4">
                  <c:v>Воронежская область</c:v>
                </c:pt>
                <c:pt idx="5">
                  <c:v>Ивановская область</c:v>
                </c:pt>
                <c:pt idx="6">
                  <c:v>Калужская область</c:v>
                </c:pt>
                <c:pt idx="7">
                  <c:v>Костромская область</c:v>
                </c:pt>
                <c:pt idx="8">
                  <c:v>Курская область</c:v>
                </c:pt>
                <c:pt idx="9">
                  <c:v>Липецкая область</c:v>
                </c:pt>
                <c:pt idx="10">
                  <c:v>Московская область</c:v>
                </c:pt>
                <c:pt idx="11">
                  <c:v>Орловская область</c:v>
                </c:pt>
                <c:pt idx="12">
                  <c:v>Рязанская область</c:v>
                </c:pt>
                <c:pt idx="13">
                  <c:v>Смоленская область</c:v>
                </c:pt>
                <c:pt idx="14">
                  <c:v>Тамбовская область</c:v>
                </c:pt>
                <c:pt idx="15">
                  <c:v>Тверская область</c:v>
                </c:pt>
                <c:pt idx="16">
                  <c:v>Тульская область</c:v>
                </c:pt>
                <c:pt idx="17">
                  <c:v>Ярославская область</c:v>
                </c:pt>
                <c:pt idx="18">
                  <c:v>г.Москва</c:v>
                </c:pt>
                <c:pt idx="19">
                  <c:v>Республика Карелия</c:v>
                </c:pt>
                <c:pt idx="20">
                  <c:v>Республика Коми</c:v>
                </c:pt>
                <c:pt idx="21">
                  <c:v>Архангельская область</c:v>
                </c:pt>
                <c:pt idx="22">
                  <c:v>Ненецкий автономный округ</c:v>
                </c:pt>
                <c:pt idx="23">
                  <c:v>Архангельская область (без автономного округа)</c:v>
                </c:pt>
                <c:pt idx="24">
                  <c:v>Вологодская область</c:v>
                </c:pt>
                <c:pt idx="25">
                  <c:v>Калининградская область</c:v>
                </c:pt>
                <c:pt idx="26">
                  <c:v>Ленинградская область</c:v>
                </c:pt>
                <c:pt idx="27">
                  <c:v>Мурманская область</c:v>
                </c:pt>
                <c:pt idx="28">
                  <c:v>Новгородская область</c:v>
                </c:pt>
                <c:pt idx="29">
                  <c:v>Псковская область</c:v>
                </c:pt>
                <c:pt idx="30">
                  <c:v>г.Санкт-Петербург</c:v>
                </c:pt>
                <c:pt idx="31">
                  <c:v>Республика Адыгея</c:v>
                </c:pt>
                <c:pt idx="32">
                  <c:v>Республика Калмыкия</c:v>
                </c:pt>
                <c:pt idx="33">
                  <c:v>Республика Крым</c:v>
                </c:pt>
                <c:pt idx="34">
                  <c:v>Краснодарский край</c:v>
                </c:pt>
                <c:pt idx="35">
                  <c:v>Астраханская область</c:v>
                </c:pt>
                <c:pt idx="36">
                  <c:v>Волгоградская область</c:v>
                </c:pt>
                <c:pt idx="37">
                  <c:v>Ростовская область</c:v>
                </c:pt>
                <c:pt idx="38">
                  <c:v>г. Севастополь</c:v>
                </c:pt>
                <c:pt idx="39">
                  <c:v>Северо-Кавказский федеральный округ</c:v>
                </c:pt>
                <c:pt idx="40">
                  <c:v>Республика Дагестан</c:v>
                </c:pt>
                <c:pt idx="41">
                  <c:v>Республика Ингушетия</c:v>
                </c:pt>
                <c:pt idx="42">
                  <c:v>Кабардино-Балкарская Республика</c:v>
                </c:pt>
                <c:pt idx="43">
                  <c:v>Карачаево-Черкесская Республика</c:v>
                </c:pt>
                <c:pt idx="44">
                  <c:v>Республика Северная Осетия - Алания</c:v>
                </c:pt>
                <c:pt idx="45">
                  <c:v>Чеченская Республика</c:v>
                </c:pt>
                <c:pt idx="46">
                  <c:v>Ставропольский край</c:v>
                </c:pt>
                <c:pt idx="47">
                  <c:v>Республика Башкортостан</c:v>
                </c:pt>
                <c:pt idx="48">
                  <c:v>Республика Марий Эл</c:v>
                </c:pt>
                <c:pt idx="49">
                  <c:v>Республика Мордовия</c:v>
                </c:pt>
                <c:pt idx="50">
                  <c:v>Республика Татарстан</c:v>
                </c:pt>
                <c:pt idx="51">
                  <c:v>Удмуртская Республика</c:v>
                </c:pt>
                <c:pt idx="52">
                  <c:v>Чувашская Республика</c:v>
                </c:pt>
                <c:pt idx="53">
                  <c:v>Пермский край</c:v>
                </c:pt>
                <c:pt idx="54">
                  <c:v>Кировская область</c:v>
                </c:pt>
                <c:pt idx="55">
                  <c:v>Нижегородская область</c:v>
                </c:pt>
                <c:pt idx="56">
                  <c:v>Оренбургская область</c:v>
                </c:pt>
                <c:pt idx="57">
                  <c:v>Пензенская область</c:v>
                </c:pt>
                <c:pt idx="58">
                  <c:v>Самарская область</c:v>
                </c:pt>
                <c:pt idx="59">
                  <c:v>Саратовская область</c:v>
                </c:pt>
                <c:pt idx="60">
                  <c:v>Ульяновская область</c:v>
                </c:pt>
                <c:pt idx="61">
                  <c:v>Курганская область</c:v>
                </c:pt>
                <c:pt idx="62">
                  <c:v>Свердловская область</c:v>
                </c:pt>
                <c:pt idx="63">
                  <c:v>Тюменская область</c:v>
                </c:pt>
                <c:pt idx="64">
                  <c:v>Ханты-Мансийский автономный округ-Югра</c:v>
                </c:pt>
                <c:pt idx="65">
                  <c:v>Ямало-Ненецкий автономный округ</c:v>
                </c:pt>
                <c:pt idx="66">
                  <c:v>Тюменская область (без автономных округов)</c:v>
                </c:pt>
                <c:pt idx="67">
                  <c:v>Челябинская область</c:v>
                </c:pt>
                <c:pt idx="68">
                  <c:v>Республика Алтай</c:v>
                </c:pt>
                <c:pt idx="69">
                  <c:v>Республика Бурятия</c:v>
                </c:pt>
                <c:pt idx="70">
                  <c:v>Республика Тыва</c:v>
                </c:pt>
                <c:pt idx="71">
                  <c:v>Республика Хакасия</c:v>
                </c:pt>
                <c:pt idx="72">
                  <c:v>Алтайский край</c:v>
                </c:pt>
                <c:pt idx="73">
                  <c:v>Забайкальский край</c:v>
                </c:pt>
                <c:pt idx="74">
                  <c:v>Красноярский край</c:v>
                </c:pt>
                <c:pt idx="75">
                  <c:v>Иркутская область</c:v>
                </c:pt>
                <c:pt idx="76">
                  <c:v>Кемеровская область</c:v>
                </c:pt>
                <c:pt idx="77">
                  <c:v>Новосибирская область</c:v>
                </c:pt>
                <c:pt idx="78">
                  <c:v>Омская область</c:v>
                </c:pt>
                <c:pt idx="79">
                  <c:v>Томская область</c:v>
                </c:pt>
                <c:pt idx="80">
                  <c:v>Республика Саха (Якутия)</c:v>
                </c:pt>
                <c:pt idx="81">
                  <c:v>Камчатский край</c:v>
                </c:pt>
                <c:pt idx="82">
                  <c:v>Приморский край</c:v>
                </c:pt>
                <c:pt idx="83">
                  <c:v>Хабаровский край</c:v>
                </c:pt>
                <c:pt idx="84">
                  <c:v>Амурская область</c:v>
                </c:pt>
                <c:pt idx="85">
                  <c:v>Магаданская область</c:v>
                </c:pt>
                <c:pt idx="86">
                  <c:v>Сахалинская область</c:v>
                </c:pt>
                <c:pt idx="87">
                  <c:v>Еврейская автономная область</c:v>
                </c:pt>
                <c:pt idx="88">
                  <c:v>Чукотский автономный округ</c:v>
                </c:pt>
              </c:strCache>
            </c:strRef>
          </c:cat>
          <c:val>
            <c:numRef>
              <c:f>'Загрузка по регионам'!$D$7:$D$102</c:f>
            </c:numRef>
          </c:val>
          <c:smooth val="0"/>
        </c:ser>
        <c:ser>
          <c:idx val="3"/>
          <c:order val="3"/>
          <c:tx>
            <c:strRef>
              <c:f>'Загрузка по регионам'!$E$6</c:f>
              <c:strCache>
                <c:ptCount val="1"/>
                <c:pt idx="0">
                  <c:v>2015</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Загрузка по регионам'!$A$7:$A$102</c:f>
              <c:strCache>
                <c:ptCount val="89"/>
                <c:pt idx="0">
                  <c:v>Российская Федерация</c:v>
                </c:pt>
                <c:pt idx="1">
                  <c:v>Белгородская область</c:v>
                </c:pt>
                <c:pt idx="2">
                  <c:v>Брянская область</c:v>
                </c:pt>
                <c:pt idx="3">
                  <c:v>Владимирская область</c:v>
                </c:pt>
                <c:pt idx="4">
                  <c:v>Воронежская область</c:v>
                </c:pt>
                <c:pt idx="5">
                  <c:v>Ивановская область</c:v>
                </c:pt>
                <c:pt idx="6">
                  <c:v>Калужская область</c:v>
                </c:pt>
                <c:pt idx="7">
                  <c:v>Костромская область</c:v>
                </c:pt>
                <c:pt idx="8">
                  <c:v>Курская область</c:v>
                </c:pt>
                <c:pt idx="9">
                  <c:v>Липецкая область</c:v>
                </c:pt>
                <c:pt idx="10">
                  <c:v>Московская область</c:v>
                </c:pt>
                <c:pt idx="11">
                  <c:v>Орловская область</c:v>
                </c:pt>
                <c:pt idx="12">
                  <c:v>Рязанская область</c:v>
                </c:pt>
                <c:pt idx="13">
                  <c:v>Смоленская область</c:v>
                </c:pt>
                <c:pt idx="14">
                  <c:v>Тамбовская область</c:v>
                </c:pt>
                <c:pt idx="15">
                  <c:v>Тверская область</c:v>
                </c:pt>
                <c:pt idx="16">
                  <c:v>Тульская область</c:v>
                </c:pt>
                <c:pt idx="17">
                  <c:v>Ярославская область</c:v>
                </c:pt>
                <c:pt idx="18">
                  <c:v>г.Москва</c:v>
                </c:pt>
                <c:pt idx="19">
                  <c:v>Республика Карелия</c:v>
                </c:pt>
                <c:pt idx="20">
                  <c:v>Республика Коми</c:v>
                </c:pt>
                <c:pt idx="21">
                  <c:v>Архангельская область</c:v>
                </c:pt>
                <c:pt idx="22">
                  <c:v>Ненецкий автономный округ</c:v>
                </c:pt>
                <c:pt idx="23">
                  <c:v>Архангельская область (без автономного округа)</c:v>
                </c:pt>
                <c:pt idx="24">
                  <c:v>Вологодская область</c:v>
                </c:pt>
                <c:pt idx="25">
                  <c:v>Калининградская область</c:v>
                </c:pt>
                <c:pt idx="26">
                  <c:v>Ленинградская область</c:v>
                </c:pt>
                <c:pt idx="27">
                  <c:v>Мурманская область</c:v>
                </c:pt>
                <c:pt idx="28">
                  <c:v>Новгородская область</c:v>
                </c:pt>
                <c:pt idx="29">
                  <c:v>Псковская область</c:v>
                </c:pt>
                <c:pt idx="30">
                  <c:v>г.Санкт-Петербург</c:v>
                </c:pt>
                <c:pt idx="31">
                  <c:v>Республика Адыгея</c:v>
                </c:pt>
                <c:pt idx="32">
                  <c:v>Республика Калмыкия</c:v>
                </c:pt>
                <c:pt idx="33">
                  <c:v>Республика Крым</c:v>
                </c:pt>
                <c:pt idx="34">
                  <c:v>Краснодарский край</c:v>
                </c:pt>
                <c:pt idx="35">
                  <c:v>Астраханская область</c:v>
                </c:pt>
                <c:pt idx="36">
                  <c:v>Волгоградская область</c:v>
                </c:pt>
                <c:pt idx="37">
                  <c:v>Ростовская область</c:v>
                </c:pt>
                <c:pt idx="38">
                  <c:v>г. Севастополь</c:v>
                </c:pt>
                <c:pt idx="39">
                  <c:v>Северо-Кавказский федеральный округ</c:v>
                </c:pt>
                <c:pt idx="40">
                  <c:v>Республика Дагестан</c:v>
                </c:pt>
                <c:pt idx="41">
                  <c:v>Республика Ингушетия</c:v>
                </c:pt>
                <c:pt idx="42">
                  <c:v>Кабардино-Балкарская Республика</c:v>
                </c:pt>
                <c:pt idx="43">
                  <c:v>Карачаево-Черкесская Республика</c:v>
                </c:pt>
                <c:pt idx="44">
                  <c:v>Республика Северная Осетия - Алания</c:v>
                </c:pt>
                <c:pt idx="45">
                  <c:v>Чеченская Республика</c:v>
                </c:pt>
                <c:pt idx="46">
                  <c:v>Ставропольский край</c:v>
                </c:pt>
                <c:pt idx="47">
                  <c:v>Республика Башкортостан</c:v>
                </c:pt>
                <c:pt idx="48">
                  <c:v>Республика Марий Эл</c:v>
                </c:pt>
                <c:pt idx="49">
                  <c:v>Республика Мордовия</c:v>
                </c:pt>
                <c:pt idx="50">
                  <c:v>Республика Татарстан</c:v>
                </c:pt>
                <c:pt idx="51">
                  <c:v>Удмуртская Республика</c:v>
                </c:pt>
                <c:pt idx="52">
                  <c:v>Чувашская Республика</c:v>
                </c:pt>
                <c:pt idx="53">
                  <c:v>Пермский край</c:v>
                </c:pt>
                <c:pt idx="54">
                  <c:v>Кировская область</c:v>
                </c:pt>
                <c:pt idx="55">
                  <c:v>Нижегородская область</c:v>
                </c:pt>
                <c:pt idx="56">
                  <c:v>Оренбургская область</c:v>
                </c:pt>
                <c:pt idx="57">
                  <c:v>Пензенская область</c:v>
                </c:pt>
                <c:pt idx="58">
                  <c:v>Самарская область</c:v>
                </c:pt>
                <c:pt idx="59">
                  <c:v>Саратовская область</c:v>
                </c:pt>
                <c:pt idx="60">
                  <c:v>Ульяновская область</c:v>
                </c:pt>
                <c:pt idx="61">
                  <c:v>Курганская область</c:v>
                </c:pt>
                <c:pt idx="62">
                  <c:v>Свердловская область</c:v>
                </c:pt>
                <c:pt idx="63">
                  <c:v>Тюменская область</c:v>
                </c:pt>
                <c:pt idx="64">
                  <c:v>Ханты-Мансийский автономный округ-Югра</c:v>
                </c:pt>
                <c:pt idx="65">
                  <c:v>Ямало-Ненецкий автономный округ</c:v>
                </c:pt>
                <c:pt idx="66">
                  <c:v>Тюменская область (без автономных округов)</c:v>
                </c:pt>
                <c:pt idx="67">
                  <c:v>Челябинская область</c:v>
                </c:pt>
                <c:pt idx="68">
                  <c:v>Республика Алтай</c:v>
                </c:pt>
                <c:pt idx="69">
                  <c:v>Республика Бурятия</c:v>
                </c:pt>
                <c:pt idx="70">
                  <c:v>Республика Тыва</c:v>
                </c:pt>
                <c:pt idx="71">
                  <c:v>Республика Хакасия</c:v>
                </c:pt>
                <c:pt idx="72">
                  <c:v>Алтайский край</c:v>
                </c:pt>
                <c:pt idx="73">
                  <c:v>Забайкальский край</c:v>
                </c:pt>
                <c:pt idx="74">
                  <c:v>Красноярский край</c:v>
                </c:pt>
                <c:pt idx="75">
                  <c:v>Иркутская область</c:v>
                </c:pt>
                <c:pt idx="76">
                  <c:v>Кемеровская область</c:v>
                </c:pt>
                <c:pt idx="77">
                  <c:v>Новосибирская область</c:v>
                </c:pt>
                <c:pt idx="78">
                  <c:v>Омская область</c:v>
                </c:pt>
                <c:pt idx="79">
                  <c:v>Томская область</c:v>
                </c:pt>
                <c:pt idx="80">
                  <c:v>Республика Саха (Якутия)</c:v>
                </c:pt>
                <c:pt idx="81">
                  <c:v>Камчатский край</c:v>
                </c:pt>
                <c:pt idx="82">
                  <c:v>Приморский край</c:v>
                </c:pt>
                <c:pt idx="83">
                  <c:v>Хабаровский край</c:v>
                </c:pt>
                <c:pt idx="84">
                  <c:v>Амурская область</c:v>
                </c:pt>
                <c:pt idx="85">
                  <c:v>Магаданская область</c:v>
                </c:pt>
                <c:pt idx="86">
                  <c:v>Сахалинская область</c:v>
                </c:pt>
                <c:pt idx="87">
                  <c:v>Еврейская автономная область</c:v>
                </c:pt>
                <c:pt idx="88">
                  <c:v>Чукотский автономный округ</c:v>
                </c:pt>
              </c:strCache>
            </c:strRef>
          </c:cat>
          <c:val>
            <c:numRef>
              <c:f>'Загрузка по регионам'!$E$7:$E$102</c:f>
            </c:numRef>
          </c:val>
          <c:smooth val="0"/>
        </c:ser>
        <c:ser>
          <c:idx val="4"/>
          <c:order val="4"/>
          <c:tx>
            <c:strRef>
              <c:f>'Загрузка по регионам'!$F$6</c:f>
              <c:strCache>
                <c:ptCount val="1"/>
                <c:pt idx="0">
                  <c:v>2015</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f>'Загрузка по регионам'!$A$7:$A$102</c:f>
              <c:strCache>
                <c:ptCount val="89"/>
                <c:pt idx="0">
                  <c:v>Российская Федерация</c:v>
                </c:pt>
                <c:pt idx="1">
                  <c:v>Белгородская область</c:v>
                </c:pt>
                <c:pt idx="2">
                  <c:v>Брянская область</c:v>
                </c:pt>
                <c:pt idx="3">
                  <c:v>Владимирская область</c:v>
                </c:pt>
                <c:pt idx="4">
                  <c:v>Воронежская область</c:v>
                </c:pt>
                <c:pt idx="5">
                  <c:v>Ивановская область</c:v>
                </c:pt>
                <c:pt idx="6">
                  <c:v>Калужская область</c:v>
                </c:pt>
                <c:pt idx="7">
                  <c:v>Костромская область</c:v>
                </c:pt>
                <c:pt idx="8">
                  <c:v>Курская область</c:v>
                </c:pt>
                <c:pt idx="9">
                  <c:v>Липецкая область</c:v>
                </c:pt>
                <c:pt idx="10">
                  <c:v>Московская область</c:v>
                </c:pt>
                <c:pt idx="11">
                  <c:v>Орловская область</c:v>
                </c:pt>
                <c:pt idx="12">
                  <c:v>Рязанская область</c:v>
                </c:pt>
                <c:pt idx="13">
                  <c:v>Смоленская область</c:v>
                </c:pt>
                <c:pt idx="14">
                  <c:v>Тамбовская область</c:v>
                </c:pt>
                <c:pt idx="15">
                  <c:v>Тверская область</c:v>
                </c:pt>
                <c:pt idx="16">
                  <c:v>Тульская область</c:v>
                </c:pt>
                <c:pt idx="17">
                  <c:v>Ярославская область</c:v>
                </c:pt>
                <c:pt idx="18">
                  <c:v>г.Москва</c:v>
                </c:pt>
                <c:pt idx="19">
                  <c:v>Республика Карелия</c:v>
                </c:pt>
                <c:pt idx="20">
                  <c:v>Республика Коми</c:v>
                </c:pt>
                <c:pt idx="21">
                  <c:v>Архангельская область</c:v>
                </c:pt>
                <c:pt idx="22">
                  <c:v>Ненецкий автономный округ</c:v>
                </c:pt>
                <c:pt idx="23">
                  <c:v>Архангельская область (без автономного округа)</c:v>
                </c:pt>
                <c:pt idx="24">
                  <c:v>Вологодская область</c:v>
                </c:pt>
                <c:pt idx="25">
                  <c:v>Калининградская область</c:v>
                </c:pt>
                <c:pt idx="26">
                  <c:v>Ленинградская область</c:v>
                </c:pt>
                <c:pt idx="27">
                  <c:v>Мурманская область</c:v>
                </c:pt>
                <c:pt idx="28">
                  <c:v>Новгородская область</c:v>
                </c:pt>
                <c:pt idx="29">
                  <c:v>Псковская область</c:v>
                </c:pt>
                <c:pt idx="30">
                  <c:v>г.Санкт-Петербург</c:v>
                </c:pt>
                <c:pt idx="31">
                  <c:v>Республика Адыгея</c:v>
                </c:pt>
                <c:pt idx="32">
                  <c:v>Республика Калмыкия</c:v>
                </c:pt>
                <c:pt idx="33">
                  <c:v>Республика Крым</c:v>
                </c:pt>
                <c:pt idx="34">
                  <c:v>Краснодарский край</c:v>
                </c:pt>
                <c:pt idx="35">
                  <c:v>Астраханская область</c:v>
                </c:pt>
                <c:pt idx="36">
                  <c:v>Волгоградская область</c:v>
                </c:pt>
                <c:pt idx="37">
                  <c:v>Ростовская область</c:v>
                </c:pt>
                <c:pt idx="38">
                  <c:v>г. Севастополь</c:v>
                </c:pt>
                <c:pt idx="39">
                  <c:v>Северо-Кавказский федеральный округ</c:v>
                </c:pt>
                <c:pt idx="40">
                  <c:v>Республика Дагестан</c:v>
                </c:pt>
                <c:pt idx="41">
                  <c:v>Республика Ингушетия</c:v>
                </c:pt>
                <c:pt idx="42">
                  <c:v>Кабардино-Балкарская Республика</c:v>
                </c:pt>
                <c:pt idx="43">
                  <c:v>Карачаево-Черкесская Республика</c:v>
                </c:pt>
                <c:pt idx="44">
                  <c:v>Республика Северная Осетия - Алания</c:v>
                </c:pt>
                <c:pt idx="45">
                  <c:v>Чеченская Республика</c:v>
                </c:pt>
                <c:pt idx="46">
                  <c:v>Ставропольский край</c:v>
                </c:pt>
                <c:pt idx="47">
                  <c:v>Республика Башкортостан</c:v>
                </c:pt>
                <c:pt idx="48">
                  <c:v>Республика Марий Эл</c:v>
                </c:pt>
                <c:pt idx="49">
                  <c:v>Республика Мордовия</c:v>
                </c:pt>
                <c:pt idx="50">
                  <c:v>Республика Татарстан</c:v>
                </c:pt>
                <c:pt idx="51">
                  <c:v>Удмуртская Республика</c:v>
                </c:pt>
                <c:pt idx="52">
                  <c:v>Чувашская Республика</c:v>
                </c:pt>
                <c:pt idx="53">
                  <c:v>Пермский край</c:v>
                </c:pt>
                <c:pt idx="54">
                  <c:v>Кировская область</c:v>
                </c:pt>
                <c:pt idx="55">
                  <c:v>Нижегородская область</c:v>
                </c:pt>
                <c:pt idx="56">
                  <c:v>Оренбургская область</c:v>
                </c:pt>
                <c:pt idx="57">
                  <c:v>Пензенская область</c:v>
                </c:pt>
                <c:pt idx="58">
                  <c:v>Самарская область</c:v>
                </c:pt>
                <c:pt idx="59">
                  <c:v>Саратовская область</c:v>
                </c:pt>
                <c:pt idx="60">
                  <c:v>Ульяновская область</c:v>
                </c:pt>
                <c:pt idx="61">
                  <c:v>Курганская область</c:v>
                </c:pt>
                <c:pt idx="62">
                  <c:v>Свердловская область</c:v>
                </c:pt>
                <c:pt idx="63">
                  <c:v>Тюменская область</c:v>
                </c:pt>
                <c:pt idx="64">
                  <c:v>Ханты-Мансийский автономный округ-Югра</c:v>
                </c:pt>
                <c:pt idx="65">
                  <c:v>Ямало-Ненецкий автономный округ</c:v>
                </c:pt>
                <c:pt idx="66">
                  <c:v>Тюменская область (без автономных округов)</c:v>
                </c:pt>
                <c:pt idx="67">
                  <c:v>Челябинская область</c:v>
                </c:pt>
                <c:pt idx="68">
                  <c:v>Республика Алтай</c:v>
                </c:pt>
                <c:pt idx="69">
                  <c:v>Республика Бурятия</c:v>
                </c:pt>
                <c:pt idx="70">
                  <c:v>Республика Тыва</c:v>
                </c:pt>
                <c:pt idx="71">
                  <c:v>Республика Хакасия</c:v>
                </c:pt>
                <c:pt idx="72">
                  <c:v>Алтайский край</c:v>
                </c:pt>
                <c:pt idx="73">
                  <c:v>Забайкальский край</c:v>
                </c:pt>
                <c:pt idx="74">
                  <c:v>Красноярский край</c:v>
                </c:pt>
                <c:pt idx="75">
                  <c:v>Иркутская область</c:v>
                </c:pt>
                <c:pt idx="76">
                  <c:v>Кемеровская область</c:v>
                </c:pt>
                <c:pt idx="77">
                  <c:v>Новосибирская область</c:v>
                </c:pt>
                <c:pt idx="78">
                  <c:v>Омская область</c:v>
                </c:pt>
                <c:pt idx="79">
                  <c:v>Томская область</c:v>
                </c:pt>
                <c:pt idx="80">
                  <c:v>Республика Саха (Якутия)</c:v>
                </c:pt>
                <c:pt idx="81">
                  <c:v>Камчатский край</c:v>
                </c:pt>
                <c:pt idx="82">
                  <c:v>Приморский край</c:v>
                </c:pt>
                <c:pt idx="83">
                  <c:v>Хабаровский край</c:v>
                </c:pt>
                <c:pt idx="84">
                  <c:v>Амурская область</c:v>
                </c:pt>
                <c:pt idx="85">
                  <c:v>Магаданская область</c:v>
                </c:pt>
                <c:pt idx="86">
                  <c:v>Сахалинская область</c:v>
                </c:pt>
                <c:pt idx="87">
                  <c:v>Еврейская автономная область</c:v>
                </c:pt>
                <c:pt idx="88">
                  <c:v>Чукотский автономный округ</c:v>
                </c:pt>
              </c:strCache>
            </c:strRef>
          </c:cat>
          <c:val>
            <c:numRef>
              <c:f>'Загрузка по регионам'!$F$7:$F$102</c:f>
            </c:numRef>
          </c:val>
          <c:smooth val="0"/>
        </c:ser>
        <c:ser>
          <c:idx val="5"/>
          <c:order val="5"/>
          <c:tx>
            <c:strRef>
              <c:f>'Загрузка по регионам'!$G$6</c:f>
              <c:strCache>
                <c:ptCount val="1"/>
                <c:pt idx="0">
                  <c:v>2015</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cat>
            <c:strRef>
              <c:f>'Загрузка по регионам'!$A$7:$A$102</c:f>
              <c:strCache>
                <c:ptCount val="89"/>
                <c:pt idx="0">
                  <c:v>Российская Федерация</c:v>
                </c:pt>
                <c:pt idx="1">
                  <c:v>Белгородская область</c:v>
                </c:pt>
                <c:pt idx="2">
                  <c:v>Брянская область</c:v>
                </c:pt>
                <c:pt idx="3">
                  <c:v>Владимирская область</c:v>
                </c:pt>
                <c:pt idx="4">
                  <c:v>Воронежская область</c:v>
                </c:pt>
                <c:pt idx="5">
                  <c:v>Ивановская область</c:v>
                </c:pt>
                <c:pt idx="6">
                  <c:v>Калужская область</c:v>
                </c:pt>
                <c:pt idx="7">
                  <c:v>Костромская область</c:v>
                </c:pt>
                <c:pt idx="8">
                  <c:v>Курская область</c:v>
                </c:pt>
                <c:pt idx="9">
                  <c:v>Липецкая область</c:v>
                </c:pt>
                <c:pt idx="10">
                  <c:v>Московская область</c:v>
                </c:pt>
                <c:pt idx="11">
                  <c:v>Орловская область</c:v>
                </c:pt>
                <c:pt idx="12">
                  <c:v>Рязанская область</c:v>
                </c:pt>
                <c:pt idx="13">
                  <c:v>Смоленская область</c:v>
                </c:pt>
                <c:pt idx="14">
                  <c:v>Тамбовская область</c:v>
                </c:pt>
                <c:pt idx="15">
                  <c:v>Тверская область</c:v>
                </c:pt>
                <c:pt idx="16">
                  <c:v>Тульская область</c:v>
                </c:pt>
                <c:pt idx="17">
                  <c:v>Ярославская область</c:v>
                </c:pt>
                <c:pt idx="18">
                  <c:v>г.Москва</c:v>
                </c:pt>
                <c:pt idx="19">
                  <c:v>Республика Карелия</c:v>
                </c:pt>
                <c:pt idx="20">
                  <c:v>Республика Коми</c:v>
                </c:pt>
                <c:pt idx="21">
                  <c:v>Архангельская область</c:v>
                </c:pt>
                <c:pt idx="22">
                  <c:v>Ненецкий автономный округ</c:v>
                </c:pt>
                <c:pt idx="23">
                  <c:v>Архангельская область (без автономного округа)</c:v>
                </c:pt>
                <c:pt idx="24">
                  <c:v>Вологодская область</c:v>
                </c:pt>
                <c:pt idx="25">
                  <c:v>Калининградская область</c:v>
                </c:pt>
                <c:pt idx="26">
                  <c:v>Ленинградская область</c:v>
                </c:pt>
                <c:pt idx="27">
                  <c:v>Мурманская область</c:v>
                </c:pt>
                <c:pt idx="28">
                  <c:v>Новгородская область</c:v>
                </c:pt>
                <c:pt idx="29">
                  <c:v>Псковская область</c:v>
                </c:pt>
                <c:pt idx="30">
                  <c:v>г.Санкт-Петербург</c:v>
                </c:pt>
                <c:pt idx="31">
                  <c:v>Республика Адыгея</c:v>
                </c:pt>
                <c:pt idx="32">
                  <c:v>Республика Калмыкия</c:v>
                </c:pt>
                <c:pt idx="33">
                  <c:v>Республика Крым</c:v>
                </c:pt>
                <c:pt idx="34">
                  <c:v>Краснодарский край</c:v>
                </c:pt>
                <c:pt idx="35">
                  <c:v>Астраханская область</c:v>
                </c:pt>
                <c:pt idx="36">
                  <c:v>Волгоградская область</c:v>
                </c:pt>
                <c:pt idx="37">
                  <c:v>Ростовская область</c:v>
                </c:pt>
                <c:pt idx="38">
                  <c:v>г. Севастополь</c:v>
                </c:pt>
                <c:pt idx="39">
                  <c:v>Северо-Кавказский федеральный округ</c:v>
                </c:pt>
                <c:pt idx="40">
                  <c:v>Республика Дагестан</c:v>
                </c:pt>
                <c:pt idx="41">
                  <c:v>Республика Ингушетия</c:v>
                </c:pt>
                <c:pt idx="42">
                  <c:v>Кабардино-Балкарская Республика</c:v>
                </c:pt>
                <c:pt idx="43">
                  <c:v>Карачаево-Черкесская Республика</c:v>
                </c:pt>
                <c:pt idx="44">
                  <c:v>Республика Северная Осетия - Алания</c:v>
                </c:pt>
                <c:pt idx="45">
                  <c:v>Чеченская Республика</c:v>
                </c:pt>
                <c:pt idx="46">
                  <c:v>Ставропольский край</c:v>
                </c:pt>
                <c:pt idx="47">
                  <c:v>Республика Башкортостан</c:v>
                </c:pt>
                <c:pt idx="48">
                  <c:v>Республика Марий Эл</c:v>
                </c:pt>
                <c:pt idx="49">
                  <c:v>Республика Мордовия</c:v>
                </c:pt>
                <c:pt idx="50">
                  <c:v>Республика Татарстан</c:v>
                </c:pt>
                <c:pt idx="51">
                  <c:v>Удмуртская Республика</c:v>
                </c:pt>
                <c:pt idx="52">
                  <c:v>Чувашская Республика</c:v>
                </c:pt>
                <c:pt idx="53">
                  <c:v>Пермский край</c:v>
                </c:pt>
                <c:pt idx="54">
                  <c:v>Кировская область</c:v>
                </c:pt>
                <c:pt idx="55">
                  <c:v>Нижегородская область</c:v>
                </c:pt>
                <c:pt idx="56">
                  <c:v>Оренбургская область</c:v>
                </c:pt>
                <c:pt idx="57">
                  <c:v>Пензенская область</c:v>
                </c:pt>
                <c:pt idx="58">
                  <c:v>Самарская область</c:v>
                </c:pt>
                <c:pt idx="59">
                  <c:v>Саратовская область</c:v>
                </c:pt>
                <c:pt idx="60">
                  <c:v>Ульяновская область</c:v>
                </c:pt>
                <c:pt idx="61">
                  <c:v>Курганская область</c:v>
                </c:pt>
                <c:pt idx="62">
                  <c:v>Свердловская область</c:v>
                </c:pt>
                <c:pt idx="63">
                  <c:v>Тюменская область</c:v>
                </c:pt>
                <c:pt idx="64">
                  <c:v>Ханты-Мансийский автономный округ-Югра</c:v>
                </c:pt>
                <c:pt idx="65">
                  <c:v>Ямало-Ненецкий автономный округ</c:v>
                </c:pt>
                <c:pt idx="66">
                  <c:v>Тюменская область (без автономных округов)</c:v>
                </c:pt>
                <c:pt idx="67">
                  <c:v>Челябинская область</c:v>
                </c:pt>
                <c:pt idx="68">
                  <c:v>Республика Алтай</c:v>
                </c:pt>
                <c:pt idx="69">
                  <c:v>Республика Бурятия</c:v>
                </c:pt>
                <c:pt idx="70">
                  <c:v>Республика Тыва</c:v>
                </c:pt>
                <c:pt idx="71">
                  <c:v>Республика Хакасия</c:v>
                </c:pt>
                <c:pt idx="72">
                  <c:v>Алтайский край</c:v>
                </c:pt>
                <c:pt idx="73">
                  <c:v>Забайкальский край</c:v>
                </c:pt>
                <c:pt idx="74">
                  <c:v>Красноярский край</c:v>
                </c:pt>
                <c:pt idx="75">
                  <c:v>Иркутская область</c:v>
                </c:pt>
                <c:pt idx="76">
                  <c:v>Кемеровская область</c:v>
                </c:pt>
                <c:pt idx="77">
                  <c:v>Новосибирская область</c:v>
                </c:pt>
                <c:pt idx="78">
                  <c:v>Омская область</c:v>
                </c:pt>
                <c:pt idx="79">
                  <c:v>Томская область</c:v>
                </c:pt>
                <c:pt idx="80">
                  <c:v>Республика Саха (Якутия)</c:v>
                </c:pt>
                <c:pt idx="81">
                  <c:v>Камчатский край</c:v>
                </c:pt>
                <c:pt idx="82">
                  <c:v>Приморский край</c:v>
                </c:pt>
                <c:pt idx="83">
                  <c:v>Хабаровский край</c:v>
                </c:pt>
                <c:pt idx="84">
                  <c:v>Амурская область</c:v>
                </c:pt>
                <c:pt idx="85">
                  <c:v>Магаданская область</c:v>
                </c:pt>
                <c:pt idx="86">
                  <c:v>Сахалинская область</c:v>
                </c:pt>
                <c:pt idx="87">
                  <c:v>Еврейская автономная область</c:v>
                </c:pt>
                <c:pt idx="88">
                  <c:v>Чукотский автономный округ</c:v>
                </c:pt>
              </c:strCache>
            </c:strRef>
          </c:cat>
          <c:val>
            <c:numRef>
              <c:f>'Загрузка по регионам'!$G$7:$G$102</c:f>
            </c:numRef>
          </c:val>
          <c:smooth val="0"/>
        </c:ser>
        <c:ser>
          <c:idx val="6"/>
          <c:order val="6"/>
          <c:tx>
            <c:strRef>
              <c:f>'Загрузка по регионам'!$H$6</c:f>
              <c:strCache>
                <c:ptCount val="1"/>
                <c:pt idx="0">
                  <c:v>2015</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strRef>
              <c:f>'Загрузка по регионам'!$A$7:$A$102</c:f>
              <c:strCache>
                <c:ptCount val="89"/>
                <c:pt idx="0">
                  <c:v>Российская Федерация</c:v>
                </c:pt>
                <c:pt idx="1">
                  <c:v>Белгородская область</c:v>
                </c:pt>
                <c:pt idx="2">
                  <c:v>Брянская область</c:v>
                </c:pt>
                <c:pt idx="3">
                  <c:v>Владимирская область</c:v>
                </c:pt>
                <c:pt idx="4">
                  <c:v>Воронежская область</c:v>
                </c:pt>
                <c:pt idx="5">
                  <c:v>Ивановская область</c:v>
                </c:pt>
                <c:pt idx="6">
                  <c:v>Калужская область</c:v>
                </c:pt>
                <c:pt idx="7">
                  <c:v>Костромская область</c:v>
                </c:pt>
                <c:pt idx="8">
                  <c:v>Курская область</c:v>
                </c:pt>
                <c:pt idx="9">
                  <c:v>Липецкая область</c:v>
                </c:pt>
                <c:pt idx="10">
                  <c:v>Московская область</c:v>
                </c:pt>
                <c:pt idx="11">
                  <c:v>Орловская область</c:v>
                </c:pt>
                <c:pt idx="12">
                  <c:v>Рязанская область</c:v>
                </c:pt>
                <c:pt idx="13">
                  <c:v>Смоленская область</c:v>
                </c:pt>
                <c:pt idx="14">
                  <c:v>Тамбовская область</c:v>
                </c:pt>
                <c:pt idx="15">
                  <c:v>Тверская область</c:v>
                </c:pt>
                <c:pt idx="16">
                  <c:v>Тульская область</c:v>
                </c:pt>
                <c:pt idx="17">
                  <c:v>Ярославская область</c:v>
                </c:pt>
                <c:pt idx="18">
                  <c:v>г.Москва</c:v>
                </c:pt>
                <c:pt idx="19">
                  <c:v>Республика Карелия</c:v>
                </c:pt>
                <c:pt idx="20">
                  <c:v>Республика Коми</c:v>
                </c:pt>
                <c:pt idx="21">
                  <c:v>Архангельская область</c:v>
                </c:pt>
                <c:pt idx="22">
                  <c:v>Ненецкий автономный округ</c:v>
                </c:pt>
                <c:pt idx="23">
                  <c:v>Архангельская область (без автономного округа)</c:v>
                </c:pt>
                <c:pt idx="24">
                  <c:v>Вологодская область</c:v>
                </c:pt>
                <c:pt idx="25">
                  <c:v>Калининградская область</c:v>
                </c:pt>
                <c:pt idx="26">
                  <c:v>Ленинградская область</c:v>
                </c:pt>
                <c:pt idx="27">
                  <c:v>Мурманская область</c:v>
                </c:pt>
                <c:pt idx="28">
                  <c:v>Новгородская область</c:v>
                </c:pt>
                <c:pt idx="29">
                  <c:v>Псковская область</c:v>
                </c:pt>
                <c:pt idx="30">
                  <c:v>г.Санкт-Петербург</c:v>
                </c:pt>
                <c:pt idx="31">
                  <c:v>Республика Адыгея</c:v>
                </c:pt>
                <c:pt idx="32">
                  <c:v>Республика Калмыкия</c:v>
                </c:pt>
                <c:pt idx="33">
                  <c:v>Республика Крым</c:v>
                </c:pt>
                <c:pt idx="34">
                  <c:v>Краснодарский край</c:v>
                </c:pt>
                <c:pt idx="35">
                  <c:v>Астраханская область</c:v>
                </c:pt>
                <c:pt idx="36">
                  <c:v>Волгоградская область</c:v>
                </c:pt>
                <c:pt idx="37">
                  <c:v>Ростовская область</c:v>
                </c:pt>
                <c:pt idx="38">
                  <c:v>г. Севастополь</c:v>
                </c:pt>
                <c:pt idx="39">
                  <c:v>Северо-Кавказский федеральный округ</c:v>
                </c:pt>
                <c:pt idx="40">
                  <c:v>Республика Дагестан</c:v>
                </c:pt>
                <c:pt idx="41">
                  <c:v>Республика Ингушетия</c:v>
                </c:pt>
                <c:pt idx="42">
                  <c:v>Кабардино-Балкарская Республика</c:v>
                </c:pt>
                <c:pt idx="43">
                  <c:v>Карачаево-Черкесская Республика</c:v>
                </c:pt>
                <c:pt idx="44">
                  <c:v>Республика Северная Осетия - Алания</c:v>
                </c:pt>
                <c:pt idx="45">
                  <c:v>Чеченская Республика</c:v>
                </c:pt>
                <c:pt idx="46">
                  <c:v>Ставропольский край</c:v>
                </c:pt>
                <c:pt idx="47">
                  <c:v>Республика Башкортостан</c:v>
                </c:pt>
                <c:pt idx="48">
                  <c:v>Республика Марий Эл</c:v>
                </c:pt>
                <c:pt idx="49">
                  <c:v>Республика Мордовия</c:v>
                </c:pt>
                <c:pt idx="50">
                  <c:v>Республика Татарстан</c:v>
                </c:pt>
                <c:pt idx="51">
                  <c:v>Удмуртская Республика</c:v>
                </c:pt>
                <c:pt idx="52">
                  <c:v>Чувашская Республика</c:v>
                </c:pt>
                <c:pt idx="53">
                  <c:v>Пермский край</c:v>
                </c:pt>
                <c:pt idx="54">
                  <c:v>Кировская область</c:v>
                </c:pt>
                <c:pt idx="55">
                  <c:v>Нижегородская область</c:v>
                </c:pt>
                <c:pt idx="56">
                  <c:v>Оренбургская область</c:v>
                </c:pt>
                <c:pt idx="57">
                  <c:v>Пензенская область</c:v>
                </c:pt>
                <c:pt idx="58">
                  <c:v>Самарская область</c:v>
                </c:pt>
                <c:pt idx="59">
                  <c:v>Саратовская область</c:v>
                </c:pt>
                <c:pt idx="60">
                  <c:v>Ульяновская область</c:v>
                </c:pt>
                <c:pt idx="61">
                  <c:v>Курганская область</c:v>
                </c:pt>
                <c:pt idx="62">
                  <c:v>Свердловская область</c:v>
                </c:pt>
                <c:pt idx="63">
                  <c:v>Тюменская область</c:v>
                </c:pt>
                <c:pt idx="64">
                  <c:v>Ханты-Мансийский автономный округ-Югра</c:v>
                </c:pt>
                <c:pt idx="65">
                  <c:v>Ямало-Ненецкий автономный округ</c:v>
                </c:pt>
                <c:pt idx="66">
                  <c:v>Тюменская область (без автономных округов)</c:v>
                </c:pt>
                <c:pt idx="67">
                  <c:v>Челябинская область</c:v>
                </c:pt>
                <c:pt idx="68">
                  <c:v>Республика Алтай</c:v>
                </c:pt>
                <c:pt idx="69">
                  <c:v>Республика Бурятия</c:v>
                </c:pt>
                <c:pt idx="70">
                  <c:v>Республика Тыва</c:v>
                </c:pt>
                <c:pt idx="71">
                  <c:v>Республика Хакасия</c:v>
                </c:pt>
                <c:pt idx="72">
                  <c:v>Алтайский край</c:v>
                </c:pt>
                <c:pt idx="73">
                  <c:v>Забайкальский край</c:v>
                </c:pt>
                <c:pt idx="74">
                  <c:v>Красноярский край</c:v>
                </c:pt>
                <c:pt idx="75">
                  <c:v>Иркутская область</c:v>
                </c:pt>
                <c:pt idx="76">
                  <c:v>Кемеровская область</c:v>
                </c:pt>
                <c:pt idx="77">
                  <c:v>Новосибирская область</c:v>
                </c:pt>
                <c:pt idx="78">
                  <c:v>Омская область</c:v>
                </c:pt>
                <c:pt idx="79">
                  <c:v>Томская область</c:v>
                </c:pt>
                <c:pt idx="80">
                  <c:v>Республика Саха (Якутия)</c:v>
                </c:pt>
                <c:pt idx="81">
                  <c:v>Камчатский край</c:v>
                </c:pt>
                <c:pt idx="82">
                  <c:v>Приморский край</c:v>
                </c:pt>
                <c:pt idx="83">
                  <c:v>Хабаровский край</c:v>
                </c:pt>
                <c:pt idx="84">
                  <c:v>Амурская область</c:v>
                </c:pt>
                <c:pt idx="85">
                  <c:v>Магаданская область</c:v>
                </c:pt>
                <c:pt idx="86">
                  <c:v>Сахалинская область</c:v>
                </c:pt>
                <c:pt idx="87">
                  <c:v>Еврейская автономная область</c:v>
                </c:pt>
                <c:pt idx="88">
                  <c:v>Чукотский автономный округ</c:v>
                </c:pt>
              </c:strCache>
            </c:strRef>
          </c:cat>
          <c:val>
            <c:numRef>
              <c:f>'Загрузка по регионам'!$H$7:$H$102</c:f>
            </c:numRef>
          </c:val>
          <c:smooth val="0"/>
        </c:ser>
        <c:dLbls>
          <c:showLegendKey val="0"/>
          <c:showVal val="0"/>
          <c:showCatName val="0"/>
          <c:showSerName val="0"/>
          <c:showPercent val="0"/>
          <c:showBubbleSize val="0"/>
        </c:dLbls>
        <c:marker val="1"/>
        <c:smooth val="0"/>
        <c:axId val="394015968"/>
        <c:axId val="394015576"/>
      </c:lineChart>
      <c:catAx>
        <c:axId val="394015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394015576"/>
        <c:crosses val="autoZero"/>
        <c:auto val="1"/>
        <c:lblAlgn val="ctr"/>
        <c:lblOffset val="100"/>
        <c:tickLblSkip val="1"/>
        <c:noMultiLvlLbl val="0"/>
      </c:catAx>
      <c:valAx>
        <c:axId val="39401557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39401596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solidFill>
      <a:schemeClr val="bg1"/>
    </a:solidFill>
    <a:ln w="9525" cap="flat" cmpd="sng" algn="ctr">
      <a:noFill/>
      <a:round/>
    </a:ln>
    <a:effectLst/>
  </c:spPr>
  <c:txPr>
    <a:bodyPr/>
    <a:lstStyle/>
    <a:p>
      <a:pPr>
        <a:defRPr>
          <a:latin typeface="Arial" panose="020B0604020202020204" pitchFamily="34" charset="0"/>
          <a:cs typeface="Arial" panose="020B0604020202020204" pitchFamily="34" charset="0"/>
        </a:defRPr>
      </a:pPr>
      <a:endParaRPr lang="ru-RU"/>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1"/>
          <c:tx>
            <c:strRef>
              <c:f>Sheet12!$C$1</c:f>
              <c:strCache>
                <c:ptCount val="1"/>
                <c:pt idx="0">
                  <c:v>Загрузка 2016</c:v>
                </c:pt>
              </c:strCache>
            </c:strRef>
          </c:tx>
          <c:spPr>
            <a:solidFill>
              <a:schemeClr val="accent2"/>
            </a:solidFill>
            <a:ln>
              <a:noFill/>
            </a:ln>
            <a:effectLst/>
          </c:spPr>
          <c:invertIfNegative val="0"/>
          <c:cat>
            <c:strRef>
              <c:f>Sheet12!$A$2:$A$28</c:f>
              <c:strCache>
                <c:ptCount val="27"/>
                <c:pt idx="0">
                  <c:v>Австрия</c:v>
                </c:pt>
                <c:pt idx="1">
                  <c:v>Бельгия</c:v>
                </c:pt>
                <c:pt idx="2">
                  <c:v>Болгария</c:v>
                </c:pt>
                <c:pt idx="3">
                  <c:v>Хорватия</c:v>
                </c:pt>
                <c:pt idx="4">
                  <c:v>Чехия</c:v>
                </c:pt>
                <c:pt idx="5">
                  <c:v>Эстония</c:v>
                </c:pt>
                <c:pt idx="6">
                  <c:v>Финляндия</c:v>
                </c:pt>
                <c:pt idx="7">
                  <c:v>Франция</c:v>
                </c:pt>
                <c:pt idx="8">
                  <c:v>Германия</c:v>
                </c:pt>
                <c:pt idx="9">
                  <c:v>Греция</c:v>
                </c:pt>
                <c:pt idx="10">
                  <c:v>Венгрия</c:v>
                </c:pt>
                <c:pt idx="11">
                  <c:v>Ирландия</c:v>
                </c:pt>
                <c:pt idx="12">
                  <c:v>Израиль</c:v>
                </c:pt>
                <c:pt idx="13">
                  <c:v>Италия</c:v>
                </c:pt>
                <c:pt idx="14">
                  <c:v>Латвия</c:v>
                </c:pt>
                <c:pt idx="15">
                  <c:v>Литва</c:v>
                </c:pt>
                <c:pt idx="16">
                  <c:v>Мальта</c:v>
                </c:pt>
                <c:pt idx="17">
                  <c:v>Нидерланды</c:v>
                </c:pt>
                <c:pt idx="18">
                  <c:v>Польша</c:v>
                </c:pt>
                <c:pt idx="19">
                  <c:v>Португалия</c:v>
                </c:pt>
                <c:pt idx="20">
                  <c:v>Румыния</c:v>
                </c:pt>
                <c:pt idx="21">
                  <c:v>Россия</c:v>
                </c:pt>
                <c:pt idx="22">
                  <c:v>Словакия</c:v>
                </c:pt>
                <c:pt idx="23">
                  <c:v>Испания</c:v>
                </c:pt>
                <c:pt idx="24">
                  <c:v>Швейцария</c:v>
                </c:pt>
                <c:pt idx="25">
                  <c:v>Турция</c:v>
                </c:pt>
                <c:pt idx="26">
                  <c:v>Великобритания</c:v>
                </c:pt>
              </c:strCache>
            </c:strRef>
          </c:cat>
          <c:val>
            <c:numRef>
              <c:f>Sheet12!$C$2:$C$28</c:f>
            </c:numRef>
          </c:val>
        </c:ser>
        <c:ser>
          <c:idx val="2"/>
          <c:order val="2"/>
          <c:tx>
            <c:strRef>
              <c:f>Sheet12!$D$1</c:f>
              <c:strCache>
                <c:ptCount val="1"/>
                <c:pt idx="0">
                  <c:v>ADR, 2017</c:v>
                </c:pt>
              </c:strCache>
            </c:strRef>
          </c:tx>
          <c:spPr>
            <a:solidFill>
              <a:srgbClr val="0070C0"/>
            </a:solidFill>
            <a:ln>
              <a:noFill/>
            </a:ln>
            <a:effectLst/>
          </c:spPr>
          <c:invertIfNegative val="0"/>
          <c:dPt>
            <c:idx val="21"/>
            <c:invertIfNegative val="0"/>
            <c:bubble3D val="0"/>
            <c:spPr>
              <a:pattFill prst="pct70">
                <a:fgClr>
                  <a:srgbClr val="0070C0"/>
                </a:fgClr>
                <a:bgClr>
                  <a:schemeClr val="bg1"/>
                </a:bgClr>
              </a:pattFill>
              <a:ln>
                <a:noFill/>
              </a:ln>
              <a:effectLst/>
            </c:spPr>
          </c:dPt>
          <c:dLbls>
            <c:dLbl>
              <c:idx val="21"/>
              <c:layout>
                <c:manualLayout>
                  <c:x val="-4.2528054066811947E-2"/>
                  <c:y val="-5.3215077605321508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2!$A$2:$A$28</c:f>
              <c:strCache>
                <c:ptCount val="27"/>
                <c:pt idx="0">
                  <c:v>Австрия</c:v>
                </c:pt>
                <c:pt idx="1">
                  <c:v>Бельгия</c:v>
                </c:pt>
                <c:pt idx="2">
                  <c:v>Болгария</c:v>
                </c:pt>
                <c:pt idx="3">
                  <c:v>Хорватия</c:v>
                </c:pt>
                <c:pt idx="4">
                  <c:v>Чехия</c:v>
                </c:pt>
                <c:pt idx="5">
                  <c:v>Эстония</c:v>
                </c:pt>
                <c:pt idx="6">
                  <c:v>Финляндия</c:v>
                </c:pt>
                <c:pt idx="7">
                  <c:v>Франция</c:v>
                </c:pt>
                <c:pt idx="8">
                  <c:v>Германия</c:v>
                </c:pt>
                <c:pt idx="9">
                  <c:v>Греция</c:v>
                </c:pt>
                <c:pt idx="10">
                  <c:v>Венгрия</c:v>
                </c:pt>
                <c:pt idx="11">
                  <c:v>Ирландия</c:v>
                </c:pt>
                <c:pt idx="12">
                  <c:v>Израиль</c:v>
                </c:pt>
                <c:pt idx="13">
                  <c:v>Италия</c:v>
                </c:pt>
                <c:pt idx="14">
                  <c:v>Латвия</c:v>
                </c:pt>
                <c:pt idx="15">
                  <c:v>Литва</c:v>
                </c:pt>
                <c:pt idx="16">
                  <c:v>Мальта</c:v>
                </c:pt>
                <c:pt idx="17">
                  <c:v>Нидерланды</c:v>
                </c:pt>
                <c:pt idx="18">
                  <c:v>Польша</c:v>
                </c:pt>
                <c:pt idx="19">
                  <c:v>Португалия</c:v>
                </c:pt>
                <c:pt idx="20">
                  <c:v>Румыния</c:v>
                </c:pt>
                <c:pt idx="21">
                  <c:v>Россия</c:v>
                </c:pt>
                <c:pt idx="22">
                  <c:v>Словакия</c:v>
                </c:pt>
                <c:pt idx="23">
                  <c:v>Испания</c:v>
                </c:pt>
                <c:pt idx="24">
                  <c:v>Швейцария</c:v>
                </c:pt>
                <c:pt idx="25">
                  <c:v>Турция</c:v>
                </c:pt>
                <c:pt idx="26">
                  <c:v>Великобритания</c:v>
                </c:pt>
              </c:strCache>
            </c:strRef>
          </c:cat>
          <c:val>
            <c:numRef>
              <c:f>Sheet12!$D$2:$D$28</c:f>
              <c:numCache>
                <c:formatCode>_-[$$-409]* #,##0.00_ ;_-[$$-409]* \-#,##0.00\ ;_-[$$-409]* "-"??_ ;_-@_ </c:formatCode>
                <c:ptCount val="27"/>
                <c:pt idx="0">
                  <c:v>106.32</c:v>
                </c:pt>
                <c:pt idx="1">
                  <c:v>109.77</c:v>
                </c:pt>
                <c:pt idx="2">
                  <c:v>81.7</c:v>
                </c:pt>
                <c:pt idx="3">
                  <c:v>81.599999999999994</c:v>
                </c:pt>
                <c:pt idx="4">
                  <c:v>76.62</c:v>
                </c:pt>
                <c:pt idx="5">
                  <c:v>77.5</c:v>
                </c:pt>
                <c:pt idx="6">
                  <c:v>104.82</c:v>
                </c:pt>
                <c:pt idx="7">
                  <c:v>125.01</c:v>
                </c:pt>
                <c:pt idx="8">
                  <c:v>106.86</c:v>
                </c:pt>
                <c:pt idx="9">
                  <c:v>98.47</c:v>
                </c:pt>
                <c:pt idx="10">
                  <c:v>74.41</c:v>
                </c:pt>
                <c:pt idx="11">
                  <c:v>123.32</c:v>
                </c:pt>
                <c:pt idx="12">
                  <c:v>190.58</c:v>
                </c:pt>
                <c:pt idx="13">
                  <c:v>129.44</c:v>
                </c:pt>
                <c:pt idx="14">
                  <c:v>65.92</c:v>
                </c:pt>
                <c:pt idx="15">
                  <c:v>61.05</c:v>
                </c:pt>
                <c:pt idx="16">
                  <c:v>121.34</c:v>
                </c:pt>
                <c:pt idx="17">
                  <c:v>121.05</c:v>
                </c:pt>
                <c:pt idx="18">
                  <c:v>65.34</c:v>
                </c:pt>
                <c:pt idx="19">
                  <c:v>90.83</c:v>
                </c:pt>
                <c:pt idx="20">
                  <c:v>72.58</c:v>
                </c:pt>
                <c:pt idx="21">
                  <c:v>84.17</c:v>
                </c:pt>
                <c:pt idx="22">
                  <c:v>69.59</c:v>
                </c:pt>
                <c:pt idx="23">
                  <c:v>112.27</c:v>
                </c:pt>
                <c:pt idx="24">
                  <c:v>232.31</c:v>
                </c:pt>
                <c:pt idx="25">
                  <c:v>63.44</c:v>
                </c:pt>
                <c:pt idx="26">
                  <c:v>107.39</c:v>
                </c:pt>
              </c:numCache>
            </c:numRef>
          </c:val>
        </c:ser>
        <c:ser>
          <c:idx val="3"/>
          <c:order val="3"/>
          <c:tx>
            <c:strRef>
              <c:f>Sheet12!$E$1</c:f>
              <c:strCache>
                <c:ptCount val="1"/>
                <c:pt idx="0">
                  <c:v>ADR, 2016</c:v>
                </c:pt>
              </c:strCache>
            </c:strRef>
          </c:tx>
          <c:spPr>
            <a:solidFill>
              <a:schemeClr val="accent4"/>
            </a:solidFill>
            <a:ln>
              <a:noFill/>
            </a:ln>
            <a:effectLst/>
          </c:spPr>
          <c:invertIfNegative val="0"/>
          <c:cat>
            <c:strRef>
              <c:f>Sheet12!$A$2:$A$28</c:f>
              <c:strCache>
                <c:ptCount val="27"/>
                <c:pt idx="0">
                  <c:v>Австрия</c:v>
                </c:pt>
                <c:pt idx="1">
                  <c:v>Бельгия</c:v>
                </c:pt>
                <c:pt idx="2">
                  <c:v>Болгария</c:v>
                </c:pt>
                <c:pt idx="3">
                  <c:v>Хорватия</c:v>
                </c:pt>
                <c:pt idx="4">
                  <c:v>Чехия</c:v>
                </c:pt>
                <c:pt idx="5">
                  <c:v>Эстония</c:v>
                </c:pt>
                <c:pt idx="6">
                  <c:v>Финляндия</c:v>
                </c:pt>
                <c:pt idx="7">
                  <c:v>Франция</c:v>
                </c:pt>
                <c:pt idx="8">
                  <c:v>Германия</c:v>
                </c:pt>
                <c:pt idx="9">
                  <c:v>Греция</c:v>
                </c:pt>
                <c:pt idx="10">
                  <c:v>Венгрия</c:v>
                </c:pt>
                <c:pt idx="11">
                  <c:v>Ирландия</c:v>
                </c:pt>
                <c:pt idx="12">
                  <c:v>Израиль</c:v>
                </c:pt>
                <c:pt idx="13">
                  <c:v>Италия</c:v>
                </c:pt>
                <c:pt idx="14">
                  <c:v>Латвия</c:v>
                </c:pt>
                <c:pt idx="15">
                  <c:v>Литва</c:v>
                </c:pt>
                <c:pt idx="16">
                  <c:v>Мальта</c:v>
                </c:pt>
                <c:pt idx="17">
                  <c:v>Нидерланды</c:v>
                </c:pt>
                <c:pt idx="18">
                  <c:v>Польша</c:v>
                </c:pt>
                <c:pt idx="19">
                  <c:v>Португалия</c:v>
                </c:pt>
                <c:pt idx="20">
                  <c:v>Румыния</c:v>
                </c:pt>
                <c:pt idx="21">
                  <c:v>Россия</c:v>
                </c:pt>
                <c:pt idx="22">
                  <c:v>Словакия</c:v>
                </c:pt>
                <c:pt idx="23">
                  <c:v>Испания</c:v>
                </c:pt>
                <c:pt idx="24">
                  <c:v>Швейцария</c:v>
                </c:pt>
                <c:pt idx="25">
                  <c:v>Турция</c:v>
                </c:pt>
                <c:pt idx="26">
                  <c:v>Великобритания</c:v>
                </c:pt>
              </c:strCache>
            </c:strRef>
          </c:cat>
          <c:val>
            <c:numRef>
              <c:f>Sheet12!$E$2:$E$28</c:f>
            </c:numRef>
          </c:val>
        </c:ser>
        <c:ser>
          <c:idx val="4"/>
          <c:order val="4"/>
          <c:tx>
            <c:strRef>
              <c:f>Sheet12!$F$1</c:f>
              <c:strCache>
                <c:ptCount val="1"/>
                <c:pt idx="0">
                  <c:v>RevPAR, 2017</c:v>
                </c:pt>
              </c:strCache>
            </c:strRef>
          </c:tx>
          <c:spPr>
            <a:solidFill>
              <a:schemeClr val="accent5"/>
            </a:solidFill>
            <a:ln>
              <a:noFill/>
            </a:ln>
            <a:effectLst/>
          </c:spPr>
          <c:invertIfNegative val="0"/>
          <c:cat>
            <c:strRef>
              <c:f>Sheet12!$A$2:$A$28</c:f>
              <c:strCache>
                <c:ptCount val="27"/>
                <c:pt idx="0">
                  <c:v>Австрия</c:v>
                </c:pt>
                <c:pt idx="1">
                  <c:v>Бельгия</c:v>
                </c:pt>
                <c:pt idx="2">
                  <c:v>Болгария</c:v>
                </c:pt>
                <c:pt idx="3">
                  <c:v>Хорватия</c:v>
                </c:pt>
                <c:pt idx="4">
                  <c:v>Чехия</c:v>
                </c:pt>
                <c:pt idx="5">
                  <c:v>Эстония</c:v>
                </c:pt>
                <c:pt idx="6">
                  <c:v>Финляндия</c:v>
                </c:pt>
                <c:pt idx="7">
                  <c:v>Франция</c:v>
                </c:pt>
                <c:pt idx="8">
                  <c:v>Германия</c:v>
                </c:pt>
                <c:pt idx="9">
                  <c:v>Греция</c:v>
                </c:pt>
                <c:pt idx="10">
                  <c:v>Венгрия</c:v>
                </c:pt>
                <c:pt idx="11">
                  <c:v>Ирландия</c:v>
                </c:pt>
                <c:pt idx="12">
                  <c:v>Израиль</c:v>
                </c:pt>
                <c:pt idx="13">
                  <c:v>Италия</c:v>
                </c:pt>
                <c:pt idx="14">
                  <c:v>Латвия</c:v>
                </c:pt>
                <c:pt idx="15">
                  <c:v>Литва</c:v>
                </c:pt>
                <c:pt idx="16">
                  <c:v>Мальта</c:v>
                </c:pt>
                <c:pt idx="17">
                  <c:v>Нидерланды</c:v>
                </c:pt>
                <c:pt idx="18">
                  <c:v>Польша</c:v>
                </c:pt>
                <c:pt idx="19">
                  <c:v>Португалия</c:v>
                </c:pt>
                <c:pt idx="20">
                  <c:v>Румыния</c:v>
                </c:pt>
                <c:pt idx="21">
                  <c:v>Россия</c:v>
                </c:pt>
                <c:pt idx="22">
                  <c:v>Словакия</c:v>
                </c:pt>
                <c:pt idx="23">
                  <c:v>Испания</c:v>
                </c:pt>
                <c:pt idx="24">
                  <c:v>Швейцария</c:v>
                </c:pt>
                <c:pt idx="25">
                  <c:v>Турция</c:v>
                </c:pt>
                <c:pt idx="26">
                  <c:v>Великобритания</c:v>
                </c:pt>
              </c:strCache>
            </c:strRef>
          </c:cat>
          <c:val>
            <c:numRef>
              <c:f>Sheet12!$F$2:$F$28</c:f>
            </c:numRef>
          </c:val>
        </c:ser>
        <c:ser>
          <c:idx val="5"/>
          <c:order val="5"/>
          <c:tx>
            <c:strRef>
              <c:f>Sheet12!$G$1</c:f>
              <c:strCache>
                <c:ptCount val="1"/>
                <c:pt idx="0">
                  <c:v>RevPAR, 2016</c:v>
                </c:pt>
              </c:strCache>
            </c:strRef>
          </c:tx>
          <c:spPr>
            <a:solidFill>
              <a:schemeClr val="accent6"/>
            </a:solidFill>
            <a:ln>
              <a:noFill/>
            </a:ln>
            <a:effectLst/>
          </c:spPr>
          <c:invertIfNegative val="0"/>
          <c:cat>
            <c:strRef>
              <c:f>Sheet12!$A$2:$A$28</c:f>
              <c:strCache>
                <c:ptCount val="27"/>
                <c:pt idx="0">
                  <c:v>Австрия</c:v>
                </c:pt>
                <c:pt idx="1">
                  <c:v>Бельгия</c:v>
                </c:pt>
                <c:pt idx="2">
                  <c:v>Болгария</c:v>
                </c:pt>
                <c:pt idx="3">
                  <c:v>Хорватия</c:v>
                </c:pt>
                <c:pt idx="4">
                  <c:v>Чехия</c:v>
                </c:pt>
                <c:pt idx="5">
                  <c:v>Эстония</c:v>
                </c:pt>
                <c:pt idx="6">
                  <c:v>Финляндия</c:v>
                </c:pt>
                <c:pt idx="7">
                  <c:v>Франция</c:v>
                </c:pt>
                <c:pt idx="8">
                  <c:v>Германия</c:v>
                </c:pt>
                <c:pt idx="9">
                  <c:v>Греция</c:v>
                </c:pt>
                <c:pt idx="10">
                  <c:v>Венгрия</c:v>
                </c:pt>
                <c:pt idx="11">
                  <c:v>Ирландия</c:v>
                </c:pt>
                <c:pt idx="12">
                  <c:v>Израиль</c:v>
                </c:pt>
                <c:pt idx="13">
                  <c:v>Италия</c:v>
                </c:pt>
                <c:pt idx="14">
                  <c:v>Латвия</c:v>
                </c:pt>
                <c:pt idx="15">
                  <c:v>Литва</c:v>
                </c:pt>
                <c:pt idx="16">
                  <c:v>Мальта</c:v>
                </c:pt>
                <c:pt idx="17">
                  <c:v>Нидерланды</c:v>
                </c:pt>
                <c:pt idx="18">
                  <c:v>Польша</c:v>
                </c:pt>
                <c:pt idx="19">
                  <c:v>Португалия</c:v>
                </c:pt>
                <c:pt idx="20">
                  <c:v>Румыния</c:v>
                </c:pt>
                <c:pt idx="21">
                  <c:v>Россия</c:v>
                </c:pt>
                <c:pt idx="22">
                  <c:v>Словакия</c:v>
                </c:pt>
                <c:pt idx="23">
                  <c:v>Испания</c:v>
                </c:pt>
                <c:pt idx="24">
                  <c:v>Швейцария</c:v>
                </c:pt>
                <c:pt idx="25">
                  <c:v>Турция</c:v>
                </c:pt>
                <c:pt idx="26">
                  <c:v>Великобритания</c:v>
                </c:pt>
              </c:strCache>
            </c:strRef>
          </c:cat>
          <c:val>
            <c:numRef>
              <c:f>Sheet12!$G$2:$G$28</c:f>
            </c:numRef>
          </c:val>
        </c:ser>
        <c:dLbls>
          <c:showLegendKey val="0"/>
          <c:showVal val="0"/>
          <c:showCatName val="0"/>
          <c:showSerName val="0"/>
          <c:showPercent val="0"/>
          <c:showBubbleSize val="0"/>
        </c:dLbls>
        <c:gapWidth val="150"/>
        <c:axId val="158054312"/>
        <c:axId val="159279008"/>
      </c:barChart>
      <c:lineChart>
        <c:grouping val="standard"/>
        <c:varyColors val="0"/>
        <c:ser>
          <c:idx val="0"/>
          <c:order val="0"/>
          <c:tx>
            <c:strRef>
              <c:f>Sheet12!$B$1</c:f>
              <c:strCache>
                <c:ptCount val="1"/>
                <c:pt idx="0">
                  <c:v>Загрузка 2017</c:v>
                </c:pt>
              </c:strCache>
            </c:strRef>
          </c:tx>
          <c:spPr>
            <a:ln w="28575" cap="rnd">
              <a:solidFill>
                <a:srgbClr val="002060"/>
              </a:solidFill>
              <a:round/>
            </a:ln>
            <a:effectLst/>
          </c:spPr>
          <c:marker>
            <c:symbol val="none"/>
          </c:marker>
          <c:dLbls>
            <c:dLbl>
              <c:idx val="0"/>
              <c:layout>
                <c:manualLayout>
                  <c:x val="-6.300452454342494E-3"/>
                  <c:y val="6.208425720620845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3.150226227171247E-3"/>
                  <c:y val="-3.5476718403547686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
                  <c:y val="2.9563932002956365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3.3077375385298091E-2"/>
                  <c:y val="2.9563932002956365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2.0476470476613103E-2"/>
                  <c:y val="-7.0953436807095344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3.150226227171247E-3"/>
                  <c:y val="-6.208425720620842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0"/>
              <c:layout>
                <c:manualLayout>
                  <c:x val="-1.4176018022270611E-2"/>
                  <c:y val="-5.3215077605321515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2"/>
              <c:layout>
                <c:manualLayout>
                  <c:x val="1.8901357363027425E-2"/>
                  <c:y val="-2.660753880266076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6"/>
              <c:layout>
                <c:manualLayout>
                  <c:x val="-4.2528054066811836E-2"/>
                  <c:y val="-4.1389504804138964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9"/>
              <c:layout>
                <c:manualLayout>
                  <c:x val="-9.4506786815137401E-3"/>
                  <c:y val="4.4345898004434565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1"/>
              <c:layout>
                <c:manualLayout>
                  <c:x val="0"/>
                  <c:y val="2.9563932002956393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0000"/>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extLst>
                <c:ext xmlns:c15="http://schemas.microsoft.com/office/drawing/2012/chart" uri="{CE6537A1-D6FC-4f65-9D91-7224C49458BB}">
                  <c15:layout/>
                </c:ext>
              </c:extLst>
            </c:dLbl>
            <c:dLbl>
              <c:idx val="23"/>
              <c:layout>
                <c:manualLayout>
                  <c:x val="-3.6227601612469337E-2"/>
                  <c:y val="-2.6607538802660754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6"/>
              <c:layout>
                <c:manualLayout>
                  <c:x val="-4.7253393407568706E-2"/>
                  <c:y val="-8.8691796008869249E-3"/>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2!$A$2:$A$28</c:f>
              <c:strCache>
                <c:ptCount val="27"/>
                <c:pt idx="0">
                  <c:v>Австрия</c:v>
                </c:pt>
                <c:pt idx="1">
                  <c:v>Бельгия</c:v>
                </c:pt>
                <c:pt idx="2">
                  <c:v>Болгария</c:v>
                </c:pt>
                <c:pt idx="3">
                  <c:v>Хорватия</c:v>
                </c:pt>
                <c:pt idx="4">
                  <c:v>Чехия</c:v>
                </c:pt>
                <c:pt idx="5">
                  <c:v>Эстония</c:v>
                </c:pt>
                <c:pt idx="6">
                  <c:v>Финляндия</c:v>
                </c:pt>
                <c:pt idx="7">
                  <c:v>Франция</c:v>
                </c:pt>
                <c:pt idx="8">
                  <c:v>Германия</c:v>
                </c:pt>
                <c:pt idx="9">
                  <c:v>Греция</c:v>
                </c:pt>
                <c:pt idx="10">
                  <c:v>Венгрия</c:v>
                </c:pt>
                <c:pt idx="11">
                  <c:v>Ирландия</c:v>
                </c:pt>
                <c:pt idx="12">
                  <c:v>Израиль</c:v>
                </c:pt>
                <c:pt idx="13">
                  <c:v>Италия</c:v>
                </c:pt>
                <c:pt idx="14">
                  <c:v>Латвия</c:v>
                </c:pt>
                <c:pt idx="15">
                  <c:v>Литва</c:v>
                </c:pt>
                <c:pt idx="16">
                  <c:v>Мальта</c:v>
                </c:pt>
                <c:pt idx="17">
                  <c:v>Нидерланды</c:v>
                </c:pt>
                <c:pt idx="18">
                  <c:v>Польша</c:v>
                </c:pt>
                <c:pt idx="19">
                  <c:v>Португалия</c:v>
                </c:pt>
                <c:pt idx="20">
                  <c:v>Румыния</c:v>
                </c:pt>
                <c:pt idx="21">
                  <c:v>Россия</c:v>
                </c:pt>
                <c:pt idx="22">
                  <c:v>Словакия</c:v>
                </c:pt>
                <c:pt idx="23">
                  <c:v>Испания</c:v>
                </c:pt>
                <c:pt idx="24">
                  <c:v>Швейцария</c:v>
                </c:pt>
                <c:pt idx="25">
                  <c:v>Турция</c:v>
                </c:pt>
                <c:pt idx="26">
                  <c:v>Великобритания</c:v>
                </c:pt>
              </c:strCache>
            </c:strRef>
          </c:cat>
          <c:val>
            <c:numRef>
              <c:f>Sheet12!$B$2:$B$28</c:f>
              <c:numCache>
                <c:formatCode>0%</c:formatCode>
                <c:ptCount val="27"/>
                <c:pt idx="0" formatCode="0.00%">
                  <c:v>0.64500000000000002</c:v>
                </c:pt>
                <c:pt idx="1">
                  <c:v>0.66</c:v>
                </c:pt>
                <c:pt idx="2" formatCode="0.00%">
                  <c:v>0.60099999999999998</c:v>
                </c:pt>
                <c:pt idx="3" formatCode="0.00%">
                  <c:v>0.433</c:v>
                </c:pt>
                <c:pt idx="4" formatCode="0.00%">
                  <c:v>0.63100000000000001</c:v>
                </c:pt>
                <c:pt idx="5" formatCode="0.00%">
                  <c:v>0.54800000000000004</c:v>
                </c:pt>
                <c:pt idx="6" formatCode="0.00%">
                  <c:v>0.59099999999999997</c:v>
                </c:pt>
                <c:pt idx="7" formatCode="0.00%">
                  <c:v>0.60099999999999998</c:v>
                </c:pt>
                <c:pt idx="8" formatCode="0.00%">
                  <c:v>0.65800000000000003</c:v>
                </c:pt>
                <c:pt idx="9" formatCode="0.00%">
                  <c:v>0.61499999999999999</c:v>
                </c:pt>
                <c:pt idx="10" formatCode="0.00%">
                  <c:v>0.66500000000000004</c:v>
                </c:pt>
                <c:pt idx="11" formatCode="0.00%">
                  <c:v>0.70299999999999996</c:v>
                </c:pt>
                <c:pt idx="12" formatCode="0.00%">
                  <c:v>0.63400000000000001</c:v>
                </c:pt>
                <c:pt idx="13" formatCode="0.00%">
                  <c:v>0.61599999999999999</c:v>
                </c:pt>
                <c:pt idx="14" formatCode="0.00%">
                  <c:v>0.51400000000000001</c:v>
                </c:pt>
                <c:pt idx="15" formatCode="0.00%">
                  <c:v>0.56499999999999995</c:v>
                </c:pt>
                <c:pt idx="16" formatCode="0.00%">
                  <c:v>0.66400000000000003</c:v>
                </c:pt>
                <c:pt idx="17" formatCode="0.00%">
                  <c:v>0.68</c:v>
                </c:pt>
                <c:pt idx="18" formatCode="0.00%">
                  <c:v>0.63500000000000001</c:v>
                </c:pt>
                <c:pt idx="19" formatCode="0.00%">
                  <c:v>0.58599999999999997</c:v>
                </c:pt>
                <c:pt idx="20" formatCode="0.00%">
                  <c:v>0.63200000000000001</c:v>
                </c:pt>
                <c:pt idx="21" formatCode="0.00%">
                  <c:v>0.53100000000000003</c:v>
                </c:pt>
                <c:pt idx="22" formatCode="0.00%">
                  <c:v>0.57700000000000007</c:v>
                </c:pt>
                <c:pt idx="23" formatCode="0.00%">
                  <c:v>0.69799999999999995</c:v>
                </c:pt>
                <c:pt idx="24" formatCode="0.00%">
                  <c:v>0.59499999999999997</c:v>
                </c:pt>
                <c:pt idx="25" formatCode="0.00%">
                  <c:v>0.53799999999999992</c:v>
                </c:pt>
                <c:pt idx="26" formatCode="0.00%">
                  <c:v>0.72499999999999998</c:v>
                </c:pt>
              </c:numCache>
            </c:numRef>
          </c:val>
          <c:smooth val="1"/>
        </c:ser>
        <c:ser>
          <c:idx val="6"/>
          <c:order val="6"/>
          <c:tx>
            <c:strRef>
              <c:f>Sheet12!$H$1</c:f>
              <c:strCache>
                <c:ptCount val="1"/>
                <c:pt idx="0">
                  <c:v>% Изменения RevPAR</c:v>
                </c:pt>
              </c:strCache>
            </c:strRef>
          </c:tx>
          <c:spPr>
            <a:ln w="28575" cap="rnd">
              <a:solidFill>
                <a:srgbClr val="FF0000"/>
              </a:solidFill>
              <a:round/>
            </a:ln>
            <a:effectLst/>
          </c:spPr>
          <c:marker>
            <c:symbol val="none"/>
          </c:marker>
          <c:dLbls>
            <c:dLbl>
              <c:idx val="21"/>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2!$A$2:$A$28</c:f>
              <c:strCache>
                <c:ptCount val="27"/>
                <c:pt idx="0">
                  <c:v>Австрия</c:v>
                </c:pt>
                <c:pt idx="1">
                  <c:v>Бельгия</c:v>
                </c:pt>
                <c:pt idx="2">
                  <c:v>Болгария</c:v>
                </c:pt>
                <c:pt idx="3">
                  <c:v>Хорватия</c:v>
                </c:pt>
                <c:pt idx="4">
                  <c:v>Чехия</c:v>
                </c:pt>
                <c:pt idx="5">
                  <c:v>Эстония</c:v>
                </c:pt>
                <c:pt idx="6">
                  <c:v>Финляндия</c:v>
                </c:pt>
                <c:pt idx="7">
                  <c:v>Франция</c:v>
                </c:pt>
                <c:pt idx="8">
                  <c:v>Германия</c:v>
                </c:pt>
                <c:pt idx="9">
                  <c:v>Греция</c:v>
                </c:pt>
                <c:pt idx="10">
                  <c:v>Венгрия</c:v>
                </c:pt>
                <c:pt idx="11">
                  <c:v>Ирландия</c:v>
                </c:pt>
                <c:pt idx="12">
                  <c:v>Израиль</c:v>
                </c:pt>
                <c:pt idx="13">
                  <c:v>Италия</c:v>
                </c:pt>
                <c:pt idx="14">
                  <c:v>Латвия</c:v>
                </c:pt>
                <c:pt idx="15">
                  <c:v>Литва</c:v>
                </c:pt>
                <c:pt idx="16">
                  <c:v>Мальта</c:v>
                </c:pt>
                <c:pt idx="17">
                  <c:v>Нидерланды</c:v>
                </c:pt>
                <c:pt idx="18">
                  <c:v>Польша</c:v>
                </c:pt>
                <c:pt idx="19">
                  <c:v>Португалия</c:v>
                </c:pt>
                <c:pt idx="20">
                  <c:v>Румыния</c:v>
                </c:pt>
                <c:pt idx="21">
                  <c:v>Россия</c:v>
                </c:pt>
                <c:pt idx="22">
                  <c:v>Словакия</c:v>
                </c:pt>
                <c:pt idx="23">
                  <c:v>Испания</c:v>
                </c:pt>
                <c:pt idx="24">
                  <c:v>Швейцария</c:v>
                </c:pt>
                <c:pt idx="25">
                  <c:v>Турция</c:v>
                </c:pt>
                <c:pt idx="26">
                  <c:v>Великобритания</c:v>
                </c:pt>
              </c:strCache>
            </c:strRef>
          </c:cat>
          <c:val>
            <c:numRef>
              <c:f>Sheet12!$H$2:$H$28</c:f>
              <c:numCache>
                <c:formatCode>0.00%</c:formatCode>
                <c:ptCount val="27"/>
                <c:pt idx="0">
                  <c:v>1.8532532148656244E-2</c:v>
                </c:pt>
                <c:pt idx="1">
                  <c:v>3.9548894879696483E-2</c:v>
                </c:pt>
                <c:pt idx="2">
                  <c:v>6.9505193455029035E-2</c:v>
                </c:pt>
                <c:pt idx="3">
                  <c:v>0.35284833754126566</c:v>
                </c:pt>
                <c:pt idx="4">
                  <c:v>8.8524780616435317E-2</c:v>
                </c:pt>
                <c:pt idx="5">
                  <c:v>9.0601032360318134E-2</c:v>
                </c:pt>
                <c:pt idx="6">
                  <c:v>1.6534519705045714E-2</c:v>
                </c:pt>
                <c:pt idx="7">
                  <c:v>8.3726147771781001E-3</c:v>
                </c:pt>
                <c:pt idx="8">
                  <c:v>-2.3580256274167821E-2</c:v>
                </c:pt>
                <c:pt idx="9">
                  <c:v>9.8588828177721854E-2</c:v>
                </c:pt>
                <c:pt idx="10">
                  <c:v>0.10836188272555525</c:v>
                </c:pt>
                <c:pt idx="11">
                  <c:v>3.5716675077224203E-2</c:v>
                </c:pt>
                <c:pt idx="12">
                  <c:v>6.2427007873697482E-2</c:v>
                </c:pt>
                <c:pt idx="13">
                  <c:v>3.2773091828487422E-2</c:v>
                </c:pt>
                <c:pt idx="14">
                  <c:v>-6.1881227867622624E-2</c:v>
                </c:pt>
                <c:pt idx="15">
                  <c:v>0.10477175433011121</c:v>
                </c:pt>
                <c:pt idx="16">
                  <c:v>0.32297544089186925</c:v>
                </c:pt>
                <c:pt idx="17">
                  <c:v>3.782054910912036E-2</c:v>
                </c:pt>
                <c:pt idx="18">
                  <c:v>2.9669932056659576E-2</c:v>
                </c:pt>
                <c:pt idx="19">
                  <c:v>0.12138164963657427</c:v>
                </c:pt>
                <c:pt idx="20">
                  <c:v>4.384026919878492E-3</c:v>
                </c:pt>
                <c:pt idx="21">
                  <c:v>0.31829449224407247</c:v>
                </c:pt>
                <c:pt idx="22">
                  <c:v>8.1939327115476024E-2</c:v>
                </c:pt>
                <c:pt idx="23">
                  <c:v>5.9146935163244541E-2</c:v>
                </c:pt>
                <c:pt idx="24">
                  <c:v>-7.9308430486160209E-3</c:v>
                </c:pt>
                <c:pt idx="25">
                  <c:v>-0.21712355286747398</c:v>
                </c:pt>
                <c:pt idx="26">
                  <c:v>-6.0057607843880589E-2</c:v>
                </c:pt>
              </c:numCache>
            </c:numRef>
          </c:val>
          <c:smooth val="1"/>
        </c:ser>
        <c:dLbls>
          <c:showLegendKey val="0"/>
          <c:showVal val="0"/>
          <c:showCatName val="0"/>
          <c:showSerName val="0"/>
          <c:showPercent val="0"/>
          <c:showBubbleSize val="0"/>
        </c:dLbls>
        <c:marker val="1"/>
        <c:smooth val="0"/>
        <c:axId val="159279792"/>
        <c:axId val="159279400"/>
      </c:lineChart>
      <c:catAx>
        <c:axId val="158054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159279008"/>
        <c:crosses val="autoZero"/>
        <c:auto val="1"/>
        <c:lblAlgn val="ctr"/>
        <c:lblOffset val="100"/>
        <c:noMultiLvlLbl val="0"/>
      </c:catAx>
      <c:valAx>
        <c:axId val="159279008"/>
        <c:scaling>
          <c:orientation val="minMax"/>
        </c:scaling>
        <c:delete val="0"/>
        <c:axPos val="l"/>
        <c:majorGridlines>
          <c:spPr>
            <a:ln w="9525" cap="flat" cmpd="sng" algn="ctr">
              <a:solidFill>
                <a:schemeClr val="tx1">
                  <a:lumMod val="15000"/>
                  <a:lumOff val="85000"/>
                </a:schemeClr>
              </a:solidFill>
              <a:round/>
            </a:ln>
            <a:effectLst/>
          </c:spPr>
        </c:majorGridlines>
        <c:numFmt formatCode="_-[$$-409]* #,##0.00_ ;_-[$$-409]* \-#,##0.00\ ;_-[$$-409]* &quot;-&quot;??_ ;_-@_ "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158054312"/>
        <c:crosses val="autoZero"/>
        <c:crossBetween val="between"/>
        <c:majorUnit val="25"/>
      </c:valAx>
      <c:valAx>
        <c:axId val="159279400"/>
        <c:scaling>
          <c:orientation val="minMax"/>
          <c:min val="-0.30000000000000004"/>
        </c:scaling>
        <c:delete val="0"/>
        <c:axPos val="r"/>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159279792"/>
        <c:crosses val="max"/>
        <c:crossBetween val="between"/>
        <c:majorUnit val="5.000000000000001E-2"/>
      </c:valAx>
      <c:catAx>
        <c:axId val="159279792"/>
        <c:scaling>
          <c:orientation val="minMax"/>
        </c:scaling>
        <c:delete val="1"/>
        <c:axPos val="b"/>
        <c:numFmt formatCode="General" sourceLinked="1"/>
        <c:majorTickMark val="out"/>
        <c:minorTickMark val="none"/>
        <c:tickLblPos val="nextTo"/>
        <c:crossAx val="159279400"/>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ru-RU"/>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1"/>
          <c:tx>
            <c:strRef>
              <c:f>Sheet12!$C$67</c:f>
              <c:strCache>
                <c:ptCount val="1"/>
              </c:strCache>
            </c:strRef>
          </c:tx>
          <c:spPr>
            <a:solidFill>
              <a:schemeClr val="accent2"/>
            </a:solidFill>
            <a:ln>
              <a:noFill/>
            </a:ln>
            <a:effectLst/>
          </c:spPr>
          <c:invertIfNegative val="0"/>
          <c:cat>
            <c:strRef>
              <c:f>Sheet12!$A$68:$A$94</c:f>
              <c:strCache>
                <c:ptCount val="27"/>
                <c:pt idx="0">
                  <c:v>Австрия</c:v>
                </c:pt>
                <c:pt idx="1">
                  <c:v>Бельгия</c:v>
                </c:pt>
                <c:pt idx="2">
                  <c:v>Болгария</c:v>
                </c:pt>
                <c:pt idx="3">
                  <c:v>Хорватия</c:v>
                </c:pt>
                <c:pt idx="4">
                  <c:v>Чехия</c:v>
                </c:pt>
                <c:pt idx="5">
                  <c:v>Эстония</c:v>
                </c:pt>
                <c:pt idx="6">
                  <c:v>Финляндия</c:v>
                </c:pt>
                <c:pt idx="7">
                  <c:v>Франция</c:v>
                </c:pt>
                <c:pt idx="8">
                  <c:v>Германия</c:v>
                </c:pt>
                <c:pt idx="9">
                  <c:v>Греция</c:v>
                </c:pt>
                <c:pt idx="10">
                  <c:v>Венгрия</c:v>
                </c:pt>
                <c:pt idx="11">
                  <c:v>Ирландия</c:v>
                </c:pt>
                <c:pt idx="12">
                  <c:v>Израиль</c:v>
                </c:pt>
                <c:pt idx="13">
                  <c:v>Италия</c:v>
                </c:pt>
                <c:pt idx="14">
                  <c:v>Латвия</c:v>
                </c:pt>
                <c:pt idx="15">
                  <c:v>Литва</c:v>
                </c:pt>
                <c:pt idx="16">
                  <c:v>Мальта</c:v>
                </c:pt>
                <c:pt idx="17">
                  <c:v>Нидерланды</c:v>
                </c:pt>
                <c:pt idx="18">
                  <c:v>Польша</c:v>
                </c:pt>
                <c:pt idx="19">
                  <c:v>Португалия</c:v>
                </c:pt>
                <c:pt idx="20">
                  <c:v>Румыния</c:v>
                </c:pt>
                <c:pt idx="21">
                  <c:v>Россия</c:v>
                </c:pt>
                <c:pt idx="22">
                  <c:v>Словакия</c:v>
                </c:pt>
                <c:pt idx="23">
                  <c:v>Испания</c:v>
                </c:pt>
                <c:pt idx="24">
                  <c:v>Швейцария</c:v>
                </c:pt>
                <c:pt idx="25">
                  <c:v>Турция</c:v>
                </c:pt>
                <c:pt idx="26">
                  <c:v>Великобритания</c:v>
                </c:pt>
              </c:strCache>
            </c:strRef>
          </c:cat>
          <c:val>
            <c:numRef>
              <c:f>Sheet12!$C$68:$C$94</c:f>
            </c:numRef>
          </c:val>
        </c:ser>
        <c:ser>
          <c:idx val="2"/>
          <c:order val="2"/>
          <c:tx>
            <c:strRef>
              <c:f>Sheet12!$D$67</c:f>
              <c:strCache>
                <c:ptCount val="1"/>
                <c:pt idx="0">
                  <c:v>Кол-во номеров</c:v>
                </c:pt>
              </c:strCache>
            </c:strRef>
          </c:tx>
          <c:spPr>
            <a:solidFill>
              <a:schemeClr val="accent3"/>
            </a:solidFill>
            <a:ln>
              <a:noFill/>
            </a:ln>
            <a:effectLst/>
          </c:spPr>
          <c:invertIfNegative val="0"/>
          <c:dPt>
            <c:idx val="21"/>
            <c:invertIfNegative val="0"/>
            <c:bubble3D val="0"/>
            <c:spPr>
              <a:pattFill prst="narVert">
                <a:fgClr>
                  <a:srgbClr val="0070C0"/>
                </a:fgClr>
                <a:bgClr>
                  <a:schemeClr val="bg1"/>
                </a:bgClr>
              </a:pattFill>
              <a:ln>
                <a:noFill/>
              </a:ln>
              <a:effectLst/>
            </c:spPr>
          </c:dPt>
          <c:dLbls>
            <c:dLbl>
              <c:idx val="21"/>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2!$A$68:$A$94</c:f>
              <c:strCache>
                <c:ptCount val="27"/>
                <c:pt idx="0">
                  <c:v>Австрия</c:v>
                </c:pt>
                <c:pt idx="1">
                  <c:v>Бельгия</c:v>
                </c:pt>
                <c:pt idx="2">
                  <c:v>Болгария</c:v>
                </c:pt>
                <c:pt idx="3">
                  <c:v>Хорватия</c:v>
                </c:pt>
                <c:pt idx="4">
                  <c:v>Чехия</c:v>
                </c:pt>
                <c:pt idx="5">
                  <c:v>Эстония</c:v>
                </c:pt>
                <c:pt idx="6">
                  <c:v>Финляндия</c:v>
                </c:pt>
                <c:pt idx="7">
                  <c:v>Франция</c:v>
                </c:pt>
                <c:pt idx="8">
                  <c:v>Германия</c:v>
                </c:pt>
                <c:pt idx="9">
                  <c:v>Греция</c:v>
                </c:pt>
                <c:pt idx="10">
                  <c:v>Венгрия</c:v>
                </c:pt>
                <c:pt idx="11">
                  <c:v>Ирландия</c:v>
                </c:pt>
                <c:pt idx="12">
                  <c:v>Израиль</c:v>
                </c:pt>
                <c:pt idx="13">
                  <c:v>Италия</c:v>
                </c:pt>
                <c:pt idx="14">
                  <c:v>Латвия</c:v>
                </c:pt>
                <c:pt idx="15">
                  <c:v>Литва</c:v>
                </c:pt>
                <c:pt idx="16">
                  <c:v>Мальта</c:v>
                </c:pt>
                <c:pt idx="17">
                  <c:v>Нидерланды</c:v>
                </c:pt>
                <c:pt idx="18">
                  <c:v>Польша</c:v>
                </c:pt>
                <c:pt idx="19">
                  <c:v>Португалия</c:v>
                </c:pt>
                <c:pt idx="20">
                  <c:v>Румыния</c:v>
                </c:pt>
                <c:pt idx="21">
                  <c:v>Россия</c:v>
                </c:pt>
                <c:pt idx="22">
                  <c:v>Словакия</c:v>
                </c:pt>
                <c:pt idx="23">
                  <c:v>Испания</c:v>
                </c:pt>
                <c:pt idx="24">
                  <c:v>Швейцария</c:v>
                </c:pt>
                <c:pt idx="25">
                  <c:v>Турция</c:v>
                </c:pt>
                <c:pt idx="26">
                  <c:v>Великобритания</c:v>
                </c:pt>
              </c:strCache>
            </c:strRef>
          </c:cat>
          <c:val>
            <c:numRef>
              <c:f>Sheet12!$D$68:$D$94</c:f>
              <c:numCache>
                <c:formatCode>General</c:formatCode>
                <c:ptCount val="27"/>
                <c:pt idx="0">
                  <c:v>103416</c:v>
                </c:pt>
                <c:pt idx="1">
                  <c:v>51588</c:v>
                </c:pt>
                <c:pt idx="2">
                  <c:v>61402</c:v>
                </c:pt>
                <c:pt idx="3">
                  <c:v>57138</c:v>
                </c:pt>
                <c:pt idx="4">
                  <c:v>61236</c:v>
                </c:pt>
                <c:pt idx="5">
                  <c:v>11623</c:v>
                </c:pt>
                <c:pt idx="6">
                  <c:v>48765</c:v>
                </c:pt>
                <c:pt idx="7">
                  <c:v>504035</c:v>
                </c:pt>
                <c:pt idx="8">
                  <c:v>603401</c:v>
                </c:pt>
                <c:pt idx="9">
                  <c:v>164252</c:v>
                </c:pt>
                <c:pt idx="10">
                  <c:v>46311</c:v>
                </c:pt>
                <c:pt idx="11">
                  <c:v>59587</c:v>
                </c:pt>
                <c:pt idx="12">
                  <c:v>48460</c:v>
                </c:pt>
                <c:pt idx="13">
                  <c:v>362071</c:v>
                </c:pt>
                <c:pt idx="14">
                  <c:v>9025</c:v>
                </c:pt>
                <c:pt idx="15">
                  <c:v>8112</c:v>
                </c:pt>
                <c:pt idx="16">
                  <c:v>18609</c:v>
                </c:pt>
                <c:pt idx="17">
                  <c:v>114897</c:v>
                </c:pt>
                <c:pt idx="18">
                  <c:v>74843</c:v>
                </c:pt>
                <c:pt idx="19">
                  <c:v>117077</c:v>
                </c:pt>
                <c:pt idx="20">
                  <c:v>27836</c:v>
                </c:pt>
                <c:pt idx="21">
                  <c:v>172985</c:v>
                </c:pt>
                <c:pt idx="22">
                  <c:v>18699</c:v>
                </c:pt>
                <c:pt idx="23">
                  <c:v>574123</c:v>
                </c:pt>
                <c:pt idx="24">
                  <c:v>106856</c:v>
                </c:pt>
                <c:pt idx="25">
                  <c:v>268748</c:v>
                </c:pt>
                <c:pt idx="26">
                  <c:v>555617</c:v>
                </c:pt>
              </c:numCache>
            </c:numRef>
          </c:val>
        </c:ser>
        <c:dLbls>
          <c:showLegendKey val="0"/>
          <c:showVal val="0"/>
          <c:showCatName val="0"/>
          <c:showSerName val="0"/>
          <c:showPercent val="0"/>
          <c:showBubbleSize val="0"/>
        </c:dLbls>
        <c:gapWidth val="150"/>
        <c:axId val="159280184"/>
        <c:axId val="240652256"/>
      </c:barChart>
      <c:lineChart>
        <c:grouping val="standard"/>
        <c:varyColors val="0"/>
        <c:ser>
          <c:idx val="0"/>
          <c:order val="0"/>
          <c:tx>
            <c:strRef>
              <c:f>Sheet12!$B$67</c:f>
              <c:strCache>
                <c:ptCount val="1"/>
                <c:pt idx="0">
                  <c:v>Кол-во гостиниц</c:v>
                </c:pt>
              </c:strCache>
            </c:strRef>
          </c:tx>
          <c:spPr>
            <a:ln w="28575" cap="rnd">
              <a:solidFill>
                <a:schemeClr val="accent1"/>
              </a:solidFill>
              <a:round/>
            </a:ln>
            <a:effectLst/>
          </c:spPr>
          <c:marker>
            <c:symbol val="none"/>
          </c:marker>
          <c:dLbls>
            <c:dLbl>
              <c:idx val="21"/>
              <c:layout>
                <c:manualLayout>
                  <c:x val="-8.6230119331961091E-2"/>
                  <c:y val="-2.2038567493113014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ru-RU"/>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2!$A$68:$A$94</c:f>
              <c:strCache>
                <c:ptCount val="27"/>
                <c:pt idx="0">
                  <c:v>Австрия</c:v>
                </c:pt>
                <c:pt idx="1">
                  <c:v>Бельгия</c:v>
                </c:pt>
                <c:pt idx="2">
                  <c:v>Болгария</c:v>
                </c:pt>
                <c:pt idx="3">
                  <c:v>Хорватия</c:v>
                </c:pt>
                <c:pt idx="4">
                  <c:v>Чехия</c:v>
                </c:pt>
                <c:pt idx="5">
                  <c:v>Эстония</c:v>
                </c:pt>
                <c:pt idx="6">
                  <c:v>Финляндия</c:v>
                </c:pt>
                <c:pt idx="7">
                  <c:v>Франция</c:v>
                </c:pt>
                <c:pt idx="8">
                  <c:v>Германия</c:v>
                </c:pt>
                <c:pt idx="9">
                  <c:v>Греция</c:v>
                </c:pt>
                <c:pt idx="10">
                  <c:v>Венгрия</c:v>
                </c:pt>
                <c:pt idx="11">
                  <c:v>Ирландия</c:v>
                </c:pt>
                <c:pt idx="12">
                  <c:v>Израиль</c:v>
                </c:pt>
                <c:pt idx="13">
                  <c:v>Италия</c:v>
                </c:pt>
                <c:pt idx="14">
                  <c:v>Латвия</c:v>
                </c:pt>
                <c:pt idx="15">
                  <c:v>Литва</c:v>
                </c:pt>
                <c:pt idx="16">
                  <c:v>Мальта</c:v>
                </c:pt>
                <c:pt idx="17">
                  <c:v>Нидерланды</c:v>
                </c:pt>
                <c:pt idx="18">
                  <c:v>Польша</c:v>
                </c:pt>
                <c:pt idx="19">
                  <c:v>Португалия</c:v>
                </c:pt>
                <c:pt idx="20">
                  <c:v>Румыния</c:v>
                </c:pt>
                <c:pt idx="21">
                  <c:v>Россия</c:v>
                </c:pt>
                <c:pt idx="22">
                  <c:v>Словакия</c:v>
                </c:pt>
                <c:pt idx="23">
                  <c:v>Испания</c:v>
                </c:pt>
                <c:pt idx="24">
                  <c:v>Швейцария</c:v>
                </c:pt>
                <c:pt idx="25">
                  <c:v>Турция</c:v>
                </c:pt>
                <c:pt idx="26">
                  <c:v>Великобритания</c:v>
                </c:pt>
              </c:strCache>
            </c:strRef>
          </c:cat>
          <c:val>
            <c:numRef>
              <c:f>Sheet12!$B$68:$B$94</c:f>
              <c:numCache>
                <c:formatCode>General</c:formatCode>
                <c:ptCount val="27"/>
                <c:pt idx="0">
                  <c:v>1680</c:v>
                </c:pt>
                <c:pt idx="1">
                  <c:v>906</c:v>
                </c:pt>
                <c:pt idx="2">
                  <c:v>534</c:v>
                </c:pt>
                <c:pt idx="3">
                  <c:v>412</c:v>
                </c:pt>
                <c:pt idx="4">
                  <c:v>992</c:v>
                </c:pt>
                <c:pt idx="5">
                  <c:v>148</c:v>
                </c:pt>
                <c:pt idx="6">
                  <c:v>579</c:v>
                </c:pt>
                <c:pt idx="7">
                  <c:v>8323</c:v>
                </c:pt>
                <c:pt idx="8">
                  <c:v>9675</c:v>
                </c:pt>
                <c:pt idx="9">
                  <c:v>1853</c:v>
                </c:pt>
                <c:pt idx="10">
                  <c:v>686</c:v>
                </c:pt>
                <c:pt idx="11">
                  <c:v>755</c:v>
                </c:pt>
                <c:pt idx="12">
                  <c:v>353</c:v>
                </c:pt>
                <c:pt idx="13">
                  <c:v>6436</c:v>
                </c:pt>
                <c:pt idx="14">
                  <c:v>129</c:v>
                </c:pt>
                <c:pt idx="15">
                  <c:v>141</c:v>
                </c:pt>
                <c:pt idx="16">
                  <c:v>137</c:v>
                </c:pt>
                <c:pt idx="17">
                  <c:v>2013</c:v>
                </c:pt>
                <c:pt idx="18">
                  <c:v>954</c:v>
                </c:pt>
                <c:pt idx="19">
                  <c:v>1369</c:v>
                </c:pt>
                <c:pt idx="20">
                  <c:v>359</c:v>
                </c:pt>
                <c:pt idx="21">
                  <c:v>1747</c:v>
                </c:pt>
                <c:pt idx="22">
                  <c:v>329</c:v>
                </c:pt>
                <c:pt idx="23">
                  <c:v>4699</c:v>
                </c:pt>
                <c:pt idx="24">
                  <c:v>2441</c:v>
                </c:pt>
                <c:pt idx="25">
                  <c:v>1715</c:v>
                </c:pt>
                <c:pt idx="26">
                  <c:v>8415</c:v>
                </c:pt>
              </c:numCache>
            </c:numRef>
          </c:val>
          <c:smooth val="1"/>
        </c:ser>
        <c:dLbls>
          <c:showLegendKey val="0"/>
          <c:showVal val="0"/>
          <c:showCatName val="0"/>
          <c:showSerName val="0"/>
          <c:showPercent val="0"/>
          <c:showBubbleSize val="0"/>
        </c:dLbls>
        <c:marker val="1"/>
        <c:smooth val="0"/>
        <c:axId val="240653040"/>
        <c:axId val="240652648"/>
      </c:lineChart>
      <c:catAx>
        <c:axId val="159280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ru-RU"/>
          </a:p>
        </c:txPr>
        <c:crossAx val="240652256"/>
        <c:crosses val="autoZero"/>
        <c:auto val="1"/>
        <c:lblAlgn val="ctr"/>
        <c:lblOffset val="100"/>
        <c:noMultiLvlLbl val="0"/>
      </c:catAx>
      <c:valAx>
        <c:axId val="2406522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ru-RU"/>
          </a:p>
        </c:txPr>
        <c:crossAx val="159280184"/>
        <c:crosses val="autoZero"/>
        <c:crossBetween val="between"/>
      </c:valAx>
      <c:valAx>
        <c:axId val="240652648"/>
        <c:scaling>
          <c:orientation val="minMax"/>
          <c:min val="0"/>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ru-RU"/>
          </a:p>
        </c:txPr>
        <c:crossAx val="240653040"/>
        <c:crosses val="max"/>
        <c:crossBetween val="between"/>
      </c:valAx>
      <c:catAx>
        <c:axId val="240653040"/>
        <c:scaling>
          <c:orientation val="minMax"/>
        </c:scaling>
        <c:delete val="1"/>
        <c:axPos val="b"/>
        <c:numFmt formatCode="General" sourceLinked="1"/>
        <c:majorTickMark val="out"/>
        <c:minorTickMark val="none"/>
        <c:tickLblPos val="nextTo"/>
        <c:crossAx val="240652648"/>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drawing1.xml><?xml version="1.0" encoding="utf-8"?>
<c:userShapes xmlns:c="http://schemas.openxmlformats.org/drawingml/2006/chart">
  <cdr:relSizeAnchor xmlns:cdr="http://schemas.openxmlformats.org/drawingml/2006/chartDrawing">
    <cdr:from>
      <cdr:x>0.39575</cdr:x>
      <cdr:y>0.09156</cdr:y>
    </cdr:from>
    <cdr:to>
      <cdr:x>0.43559</cdr:x>
      <cdr:y>0.56325</cdr:y>
    </cdr:to>
    <cdr:sp macro="" textlink="">
      <cdr:nvSpPr>
        <cdr:cNvPr id="2" name="Oval 1"/>
        <cdr:cNvSpPr/>
      </cdr:nvSpPr>
      <cdr:spPr>
        <a:xfrm xmlns:a="http://schemas.openxmlformats.org/drawingml/2006/main">
          <a:off x="4192172" y="409576"/>
          <a:ext cx="422031" cy="2110154"/>
        </a:xfrm>
        <a:prstGeom xmlns:a="http://schemas.openxmlformats.org/drawingml/2006/main" prst="ellipse">
          <a:avLst/>
        </a:prstGeom>
        <a:solidFill xmlns:a="http://schemas.openxmlformats.org/drawingml/2006/main">
          <a:srgbClr val="FF0000"/>
        </a:solidFill>
        <a:ln xmlns:a="http://schemas.openxmlformats.org/drawingml/2006/main">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ru-RU"/>
        </a:p>
      </cdr:txBody>
    </cdr:sp>
  </cdr:relSizeAnchor>
  <cdr:relSizeAnchor xmlns:cdr="http://schemas.openxmlformats.org/drawingml/2006/chartDrawing">
    <cdr:from>
      <cdr:x>0.15272</cdr:x>
      <cdr:y>0.36164</cdr:y>
    </cdr:from>
    <cdr:to>
      <cdr:x>0.17131</cdr:x>
      <cdr:y>0.54717</cdr:y>
    </cdr:to>
    <cdr:sp macro="" textlink="">
      <cdr:nvSpPr>
        <cdr:cNvPr id="4" name="Oval 3"/>
        <cdr:cNvSpPr/>
      </cdr:nvSpPr>
      <cdr:spPr>
        <a:xfrm xmlns:a="http://schemas.openxmlformats.org/drawingml/2006/main">
          <a:off x="1617784" y="1617785"/>
          <a:ext cx="196948" cy="829994"/>
        </a:xfrm>
        <a:prstGeom xmlns:a="http://schemas.openxmlformats.org/drawingml/2006/main" prst="ellipse">
          <a:avLst/>
        </a:prstGeom>
        <a:solidFill xmlns:a="http://schemas.openxmlformats.org/drawingml/2006/main">
          <a:srgbClr val="FF0000"/>
        </a:solidFill>
        <a:ln xmlns:a="http://schemas.openxmlformats.org/drawingml/2006/main">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ru-RU"/>
        </a:p>
      </cdr:txBody>
    </cdr:sp>
  </cdr:relSizeAnchor>
  <cdr:relSizeAnchor xmlns:cdr="http://schemas.openxmlformats.org/drawingml/2006/chartDrawing">
    <cdr:from>
      <cdr:x>0.35784</cdr:x>
      <cdr:y>0.34469</cdr:y>
    </cdr:from>
    <cdr:to>
      <cdr:x>0.37644</cdr:x>
      <cdr:y>0.53022</cdr:y>
    </cdr:to>
    <cdr:sp macro="" textlink="">
      <cdr:nvSpPr>
        <cdr:cNvPr id="5" name="Oval 4"/>
        <cdr:cNvSpPr/>
      </cdr:nvSpPr>
      <cdr:spPr>
        <a:xfrm xmlns:a="http://schemas.openxmlformats.org/drawingml/2006/main">
          <a:off x="3790640" y="1541976"/>
          <a:ext cx="196948" cy="829994"/>
        </a:xfrm>
        <a:prstGeom xmlns:a="http://schemas.openxmlformats.org/drawingml/2006/main" prst="ellipse">
          <a:avLst/>
        </a:prstGeom>
        <a:solidFill xmlns:a="http://schemas.openxmlformats.org/drawingml/2006/main">
          <a:srgbClr val="E4002B"/>
        </a:solidFill>
        <a:ln xmlns:a="http://schemas.openxmlformats.org/drawingml/2006/main">
          <a:solidFill>
            <a:srgbClr val="E4002B"/>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ru-RU"/>
        </a:p>
      </cdr:txBody>
    </cdr:sp>
  </cdr:relSizeAnchor>
  <cdr:relSizeAnchor xmlns:cdr="http://schemas.openxmlformats.org/drawingml/2006/chartDrawing">
    <cdr:from>
      <cdr:x>0.44171</cdr:x>
      <cdr:y>0.3667</cdr:y>
    </cdr:from>
    <cdr:to>
      <cdr:x>0.46031</cdr:x>
      <cdr:y>0.55224</cdr:y>
    </cdr:to>
    <cdr:sp macro="" textlink="">
      <cdr:nvSpPr>
        <cdr:cNvPr id="6" name="Oval 5"/>
        <cdr:cNvSpPr/>
      </cdr:nvSpPr>
      <cdr:spPr>
        <a:xfrm xmlns:a="http://schemas.openxmlformats.org/drawingml/2006/main">
          <a:off x="4679070" y="1640450"/>
          <a:ext cx="196948" cy="829994"/>
        </a:xfrm>
        <a:prstGeom xmlns:a="http://schemas.openxmlformats.org/drawingml/2006/main" prst="ellipse">
          <a:avLst/>
        </a:prstGeom>
        <a:solidFill xmlns:a="http://schemas.openxmlformats.org/drawingml/2006/main">
          <a:srgbClr val="FF0000"/>
        </a:solidFill>
        <a:ln xmlns:a="http://schemas.openxmlformats.org/drawingml/2006/main">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ru-RU"/>
        </a:p>
      </cdr:txBody>
    </cdr:sp>
  </cdr:relSizeAnchor>
  <cdr:relSizeAnchor xmlns:cdr="http://schemas.openxmlformats.org/drawingml/2006/chartDrawing">
    <cdr:from>
      <cdr:x>0.32271</cdr:x>
      <cdr:y>0.11006</cdr:y>
    </cdr:from>
    <cdr:to>
      <cdr:x>0.54847</cdr:x>
      <cdr:y>0.17886</cdr:y>
    </cdr:to>
    <cdr:sp macro="" textlink="">
      <cdr:nvSpPr>
        <cdr:cNvPr id="7" name="TextBox 6"/>
        <cdr:cNvSpPr txBox="1"/>
      </cdr:nvSpPr>
      <cdr:spPr>
        <a:xfrm xmlns:a="http://schemas.openxmlformats.org/drawingml/2006/main">
          <a:off x="3418449" y="492369"/>
          <a:ext cx="2391508" cy="307777"/>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r>
            <a:rPr lang="ru-RU" sz="1400" dirty="0" smtClean="0"/>
            <a:t>Краснодарский край</a:t>
          </a:r>
        </a:p>
      </cdr:txBody>
    </cdr:sp>
  </cdr:relSizeAnchor>
  <cdr:relSizeAnchor xmlns:cdr="http://schemas.openxmlformats.org/drawingml/2006/chartDrawing">
    <cdr:from>
      <cdr:x>0.05526</cdr:x>
      <cdr:y>0.17488</cdr:y>
    </cdr:from>
    <cdr:to>
      <cdr:x>0.28102</cdr:x>
      <cdr:y>0.24368</cdr:y>
    </cdr:to>
    <cdr:sp macro="" textlink="">
      <cdr:nvSpPr>
        <cdr:cNvPr id="8" name="TextBox 1"/>
        <cdr:cNvSpPr txBox="1"/>
      </cdr:nvSpPr>
      <cdr:spPr>
        <a:xfrm xmlns:a="http://schemas.openxmlformats.org/drawingml/2006/main">
          <a:off x="585373" y="782320"/>
          <a:ext cx="2391508"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ru-RU" sz="1400" dirty="0" smtClean="0"/>
            <a:t>Московская обл.</a:t>
          </a:r>
        </a:p>
      </cdr:txBody>
    </cdr:sp>
  </cdr:relSizeAnchor>
  <cdr:relSizeAnchor xmlns:cdr="http://schemas.openxmlformats.org/drawingml/2006/chartDrawing">
    <cdr:from>
      <cdr:x>0.21728</cdr:x>
      <cdr:y>0.20947</cdr:y>
    </cdr:from>
    <cdr:to>
      <cdr:x>0.31209</cdr:x>
      <cdr:y>0.27827</cdr:y>
    </cdr:to>
    <cdr:sp macro="" textlink="">
      <cdr:nvSpPr>
        <cdr:cNvPr id="9" name="TextBox 1"/>
        <cdr:cNvSpPr txBox="1"/>
      </cdr:nvSpPr>
      <cdr:spPr>
        <a:xfrm xmlns:a="http://schemas.openxmlformats.org/drawingml/2006/main">
          <a:off x="2301631" y="937066"/>
          <a:ext cx="1004277"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ru-RU" sz="1400" dirty="0" smtClean="0"/>
            <a:t>Москва</a:t>
          </a:r>
        </a:p>
      </cdr:txBody>
    </cdr:sp>
  </cdr:relSizeAnchor>
  <cdr:relSizeAnchor xmlns:cdr="http://schemas.openxmlformats.org/drawingml/2006/chartDrawing">
    <cdr:from>
      <cdr:x>0.31688</cdr:x>
      <cdr:y>0.26293</cdr:y>
    </cdr:from>
    <cdr:to>
      <cdr:x>0.46481</cdr:x>
      <cdr:y>0.37989</cdr:y>
    </cdr:to>
    <cdr:sp macro="" textlink="">
      <cdr:nvSpPr>
        <cdr:cNvPr id="10" name="TextBox 1"/>
        <cdr:cNvSpPr txBox="1"/>
      </cdr:nvSpPr>
      <cdr:spPr>
        <a:xfrm xmlns:a="http://schemas.openxmlformats.org/drawingml/2006/main">
          <a:off x="3356708" y="1176217"/>
          <a:ext cx="1566985" cy="52322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ru-RU" sz="1400" dirty="0" smtClean="0"/>
            <a:t>Санкт-Петербург</a:t>
          </a:r>
        </a:p>
      </cdr:txBody>
    </cdr:sp>
  </cdr:relSizeAnchor>
  <cdr:relSizeAnchor xmlns:cdr="http://schemas.openxmlformats.org/drawingml/2006/chartDrawing">
    <cdr:from>
      <cdr:x>0.42843</cdr:x>
      <cdr:y>0.31639</cdr:y>
    </cdr:from>
    <cdr:to>
      <cdr:x>0.6542</cdr:x>
      <cdr:y>0.38519</cdr:y>
    </cdr:to>
    <cdr:sp macro="" textlink="">
      <cdr:nvSpPr>
        <cdr:cNvPr id="11" name="TextBox 1"/>
        <cdr:cNvSpPr txBox="1"/>
      </cdr:nvSpPr>
      <cdr:spPr>
        <a:xfrm xmlns:a="http://schemas.openxmlformats.org/drawingml/2006/main">
          <a:off x="4538393" y="1415367"/>
          <a:ext cx="2391508"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ru-RU" sz="1400" dirty="0" smtClean="0"/>
            <a:t>Ростовская обл.</a:t>
          </a:r>
        </a:p>
      </cdr:txBody>
    </cdr:sp>
  </cdr:relSizeAnchor>
  <cdr:relSizeAnchor xmlns:cdr="http://schemas.openxmlformats.org/drawingml/2006/chartDrawing">
    <cdr:from>
      <cdr:x>0.5</cdr:x>
      <cdr:y>0.2051</cdr:y>
    </cdr:from>
    <cdr:to>
      <cdr:x>0.66428</cdr:x>
      <cdr:y>0.31354</cdr:y>
    </cdr:to>
    <cdr:sp macro="" textlink="">
      <cdr:nvSpPr>
        <cdr:cNvPr id="12" name="TextBox 1"/>
        <cdr:cNvSpPr txBox="1"/>
      </cdr:nvSpPr>
      <cdr:spPr>
        <a:xfrm xmlns:a="http://schemas.openxmlformats.org/drawingml/2006/main">
          <a:off x="5296486" y="989606"/>
          <a:ext cx="1740263" cy="52322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ru-RU" sz="1400" dirty="0" smtClean="0"/>
            <a:t>Ставропольский край</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en-GB"/>
          </a:p>
        </p:txBody>
      </p:sp>
      <p:sp>
        <p:nvSpPr>
          <p:cNvPr id="3" name="Date Placeholder 2"/>
          <p:cNvSpPr>
            <a:spLocks noGrp="1"/>
          </p:cNvSpPr>
          <p:nvPr>
            <p:ph type="dt" sz="quarter" idx="1"/>
          </p:nvPr>
        </p:nvSpPr>
        <p:spPr>
          <a:xfrm>
            <a:off x="4021294" y="0"/>
            <a:ext cx="3076363" cy="513508"/>
          </a:xfrm>
          <a:prstGeom prst="rect">
            <a:avLst/>
          </a:prstGeom>
        </p:spPr>
        <p:txBody>
          <a:bodyPr vert="horz" lIns="99048" tIns="49524" rIns="99048" bIns="49524" rtlCol="0"/>
          <a:lstStyle>
            <a:lvl1pPr algn="r">
              <a:defRPr sz="1300"/>
            </a:lvl1pPr>
          </a:lstStyle>
          <a:p>
            <a:fld id="{05E10159-F0A2-4D32-8D81-E7CDE9B126A1}" type="datetimeFigureOut">
              <a:rPr lang="en-GB" smtClean="0"/>
              <a:t>21/06/2017</a:t>
            </a:fld>
            <a:endParaRPr lang="en-GB"/>
          </a:p>
        </p:txBody>
      </p:sp>
      <p:sp>
        <p:nvSpPr>
          <p:cNvPr id="4" name="Footer Placeholder 3"/>
          <p:cNvSpPr>
            <a:spLocks noGrp="1"/>
          </p:cNvSpPr>
          <p:nvPr>
            <p:ph type="ftr" sz="quarter" idx="2"/>
          </p:nvPr>
        </p:nvSpPr>
        <p:spPr>
          <a:xfrm>
            <a:off x="0" y="9721107"/>
            <a:ext cx="3076363" cy="513507"/>
          </a:xfrm>
          <a:prstGeom prst="rect">
            <a:avLst/>
          </a:prstGeom>
        </p:spPr>
        <p:txBody>
          <a:bodyPr vert="horz" lIns="99048" tIns="49524" rIns="99048" bIns="49524" rtlCol="0" anchor="b"/>
          <a:lstStyle>
            <a:lvl1pPr algn="l">
              <a:defRPr sz="1300"/>
            </a:lvl1pPr>
          </a:lstStyle>
          <a:p>
            <a:endParaRPr lang="en-GB"/>
          </a:p>
        </p:txBody>
      </p:sp>
      <p:sp>
        <p:nvSpPr>
          <p:cNvPr id="5" name="Slide Number Placeholder 4"/>
          <p:cNvSpPr>
            <a:spLocks noGrp="1"/>
          </p:cNvSpPr>
          <p:nvPr>
            <p:ph type="sldNum" sz="quarter" idx="3"/>
          </p:nvPr>
        </p:nvSpPr>
        <p:spPr>
          <a:xfrm>
            <a:off x="4021294" y="9721107"/>
            <a:ext cx="3076363" cy="513507"/>
          </a:xfrm>
          <a:prstGeom prst="rect">
            <a:avLst/>
          </a:prstGeom>
        </p:spPr>
        <p:txBody>
          <a:bodyPr vert="horz" lIns="99048" tIns="49524" rIns="99048" bIns="49524" rtlCol="0" anchor="b"/>
          <a:lstStyle>
            <a:lvl1pPr algn="r">
              <a:defRPr sz="1300"/>
            </a:lvl1pPr>
          </a:lstStyle>
          <a:p>
            <a:fld id="{3077A935-72BD-4A72-95B9-24F6FCC1AC0D}" type="slidenum">
              <a:rPr lang="en-GB" smtClean="0"/>
              <a:t>‹#›</a:t>
            </a:fld>
            <a:endParaRPr lang="en-GB"/>
          </a:p>
        </p:txBody>
      </p:sp>
    </p:spTree>
    <p:extLst>
      <p:ext uri="{BB962C8B-B14F-4D97-AF65-F5344CB8AC3E}">
        <p14:creationId xmlns:p14="http://schemas.microsoft.com/office/powerpoint/2010/main" val="386442895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idx="1"/>
          </p:nvPr>
        </p:nvSpPr>
        <p:spPr>
          <a:xfrm>
            <a:off x="4021294" y="0"/>
            <a:ext cx="3076363" cy="513508"/>
          </a:xfrm>
          <a:prstGeom prst="rect">
            <a:avLst/>
          </a:prstGeom>
        </p:spPr>
        <p:txBody>
          <a:bodyPr vert="horz" lIns="99048" tIns="49524" rIns="99048" bIns="49524" rtlCol="0"/>
          <a:lstStyle>
            <a:lvl1pPr algn="r">
              <a:defRPr sz="1300"/>
            </a:lvl1pPr>
          </a:lstStyle>
          <a:p>
            <a:fld id="{4B3414D8-DE98-4501-9537-CA1A4FD5D377}" type="datetimeFigureOut">
              <a:rPr lang="en-US" smtClean="0"/>
              <a:t>6/21/2017</a:t>
            </a:fld>
            <a:endParaRPr lang="en-US"/>
          </a:p>
        </p:txBody>
      </p:sp>
      <p:sp>
        <p:nvSpPr>
          <p:cNvPr id="4" name="Slide Image Placeholder 3"/>
          <p:cNvSpPr>
            <a:spLocks noGrp="1" noRot="1" noChangeAspect="1"/>
          </p:cNvSpPr>
          <p:nvPr>
            <p:ph type="sldImg" idx="2"/>
          </p:nvPr>
        </p:nvSpPr>
        <p:spPr>
          <a:xfrm>
            <a:off x="479425" y="1279525"/>
            <a:ext cx="6140450" cy="3454400"/>
          </a:xfrm>
          <a:prstGeom prst="rect">
            <a:avLst/>
          </a:prstGeom>
          <a:noFill/>
          <a:ln w="12700">
            <a:solidFill>
              <a:prstClr val="black"/>
            </a:solidFill>
          </a:ln>
        </p:spPr>
        <p:txBody>
          <a:bodyPr vert="horz" lIns="99048" tIns="49524" rIns="99048" bIns="49524" rtlCol="0" anchor="ctr"/>
          <a:lstStyle/>
          <a:p>
            <a:endParaRPr lang="en-US"/>
          </a:p>
        </p:txBody>
      </p:sp>
      <p:sp>
        <p:nvSpPr>
          <p:cNvPr id="5" name="Notes Placeholder 4"/>
          <p:cNvSpPr>
            <a:spLocks noGrp="1"/>
          </p:cNvSpPr>
          <p:nvPr>
            <p:ph type="body" sz="quarter" idx="3"/>
          </p:nvPr>
        </p:nvSpPr>
        <p:spPr>
          <a:xfrm>
            <a:off x="709930" y="4925407"/>
            <a:ext cx="5679440" cy="4029879"/>
          </a:xfrm>
          <a:prstGeom prst="rect">
            <a:avLst/>
          </a:prstGeom>
        </p:spPr>
        <p:txBody>
          <a:bodyPr vert="horz" lIns="99048" tIns="49524" rIns="99048" bIns="49524"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721107"/>
            <a:ext cx="3076363" cy="513507"/>
          </a:xfrm>
          <a:prstGeom prst="rect">
            <a:avLst/>
          </a:prstGeom>
        </p:spPr>
        <p:txBody>
          <a:bodyPr vert="horz" lIns="99048" tIns="49524" rIns="99048" bIns="49524" rtlCol="0" anchor="b"/>
          <a:lstStyle>
            <a:lvl1pPr algn="l">
              <a:defRPr sz="1300"/>
            </a:lvl1pPr>
          </a:lstStyle>
          <a:p>
            <a:endParaRPr lang="en-US"/>
          </a:p>
        </p:txBody>
      </p:sp>
      <p:sp>
        <p:nvSpPr>
          <p:cNvPr id="7" name="Slide Number Placeholder 6"/>
          <p:cNvSpPr>
            <a:spLocks noGrp="1"/>
          </p:cNvSpPr>
          <p:nvPr>
            <p:ph type="sldNum" sz="quarter" idx="5"/>
          </p:nvPr>
        </p:nvSpPr>
        <p:spPr>
          <a:xfrm>
            <a:off x="4021294" y="9721107"/>
            <a:ext cx="3076363" cy="513507"/>
          </a:xfrm>
          <a:prstGeom prst="rect">
            <a:avLst/>
          </a:prstGeom>
        </p:spPr>
        <p:txBody>
          <a:bodyPr vert="horz" lIns="99048" tIns="49524" rIns="99048" bIns="49524" rtlCol="0" anchor="b"/>
          <a:lstStyle>
            <a:lvl1pPr algn="r">
              <a:defRPr sz="1300"/>
            </a:lvl1pPr>
          </a:lstStyle>
          <a:p>
            <a:fld id="{81B8B860-878D-42E0-A939-A76B42512671}" type="slidenum">
              <a:rPr lang="en-US" smtClean="0"/>
              <a:t>‹#›</a:t>
            </a:fld>
            <a:endParaRPr lang="en-US"/>
          </a:p>
        </p:txBody>
      </p:sp>
    </p:spTree>
    <p:extLst>
      <p:ext uri="{BB962C8B-B14F-4D97-AF65-F5344CB8AC3E}">
        <p14:creationId xmlns:p14="http://schemas.microsoft.com/office/powerpoint/2010/main" val="347497618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81B8B860-878D-42E0-A939-A76B42512671}" type="slidenum">
              <a:rPr lang="en-US" smtClean="0"/>
              <a:t>1</a:t>
            </a:fld>
            <a:endParaRPr lang="en-US"/>
          </a:p>
        </p:txBody>
      </p:sp>
    </p:spTree>
    <p:extLst>
      <p:ext uri="{BB962C8B-B14F-4D97-AF65-F5344CB8AC3E}">
        <p14:creationId xmlns:p14="http://schemas.microsoft.com/office/powerpoint/2010/main" val="10141839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81B8B860-878D-42E0-A939-A76B42512671}" type="slidenum">
              <a:rPr lang="en-US" smtClean="0"/>
              <a:t>10</a:t>
            </a:fld>
            <a:endParaRPr lang="en-US"/>
          </a:p>
        </p:txBody>
      </p:sp>
    </p:spTree>
    <p:extLst>
      <p:ext uri="{BB962C8B-B14F-4D97-AF65-F5344CB8AC3E}">
        <p14:creationId xmlns:p14="http://schemas.microsoft.com/office/powerpoint/2010/main" val="23002619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81B8B860-878D-42E0-A939-A76B42512671}" type="slidenum">
              <a:rPr lang="en-US" smtClean="0"/>
              <a:t>11</a:t>
            </a:fld>
            <a:endParaRPr lang="en-US"/>
          </a:p>
        </p:txBody>
      </p:sp>
    </p:spTree>
    <p:extLst>
      <p:ext uri="{BB962C8B-B14F-4D97-AF65-F5344CB8AC3E}">
        <p14:creationId xmlns:p14="http://schemas.microsoft.com/office/powerpoint/2010/main" val="6171919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81B8B860-878D-42E0-A939-A76B42512671}" type="slidenum">
              <a:rPr lang="en-US" smtClean="0"/>
              <a:t>12</a:t>
            </a:fld>
            <a:endParaRPr lang="en-US"/>
          </a:p>
        </p:txBody>
      </p:sp>
    </p:spTree>
    <p:extLst>
      <p:ext uri="{BB962C8B-B14F-4D97-AF65-F5344CB8AC3E}">
        <p14:creationId xmlns:p14="http://schemas.microsoft.com/office/powerpoint/2010/main" val="41278079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81B8B860-878D-42E0-A939-A76B42512671}" type="slidenum">
              <a:rPr lang="en-US" smtClean="0"/>
              <a:t>2</a:t>
            </a:fld>
            <a:endParaRPr lang="en-US"/>
          </a:p>
        </p:txBody>
      </p:sp>
    </p:spTree>
    <p:extLst>
      <p:ext uri="{BB962C8B-B14F-4D97-AF65-F5344CB8AC3E}">
        <p14:creationId xmlns:p14="http://schemas.microsoft.com/office/powerpoint/2010/main" val="29647796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81B8B860-878D-42E0-A939-A76B42512671}" type="slidenum">
              <a:rPr lang="en-US" smtClean="0"/>
              <a:t>3</a:t>
            </a:fld>
            <a:endParaRPr lang="en-US"/>
          </a:p>
        </p:txBody>
      </p:sp>
    </p:spTree>
    <p:extLst>
      <p:ext uri="{BB962C8B-B14F-4D97-AF65-F5344CB8AC3E}">
        <p14:creationId xmlns:p14="http://schemas.microsoft.com/office/powerpoint/2010/main" val="15446111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81B8B860-878D-42E0-A939-A76B42512671}" type="slidenum">
              <a:rPr lang="en-US" smtClean="0"/>
              <a:t>4</a:t>
            </a:fld>
            <a:endParaRPr lang="en-US"/>
          </a:p>
        </p:txBody>
      </p:sp>
    </p:spTree>
    <p:extLst>
      <p:ext uri="{BB962C8B-B14F-4D97-AF65-F5344CB8AC3E}">
        <p14:creationId xmlns:p14="http://schemas.microsoft.com/office/powerpoint/2010/main" val="9960185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81B8B860-878D-42E0-A939-A76B42512671}" type="slidenum">
              <a:rPr lang="en-US" smtClean="0"/>
              <a:t>5</a:t>
            </a:fld>
            <a:endParaRPr lang="en-US"/>
          </a:p>
        </p:txBody>
      </p:sp>
    </p:spTree>
    <p:extLst>
      <p:ext uri="{BB962C8B-B14F-4D97-AF65-F5344CB8AC3E}">
        <p14:creationId xmlns:p14="http://schemas.microsoft.com/office/powerpoint/2010/main" val="25908784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81B8B860-878D-42E0-A939-A76B42512671}" type="slidenum">
              <a:rPr lang="en-US" smtClean="0"/>
              <a:t>6</a:t>
            </a:fld>
            <a:endParaRPr lang="en-US"/>
          </a:p>
        </p:txBody>
      </p:sp>
    </p:spTree>
    <p:extLst>
      <p:ext uri="{BB962C8B-B14F-4D97-AF65-F5344CB8AC3E}">
        <p14:creationId xmlns:p14="http://schemas.microsoft.com/office/powerpoint/2010/main" val="18402357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81B8B860-878D-42E0-A939-A76B42512671}" type="slidenum">
              <a:rPr lang="en-US" smtClean="0"/>
              <a:t>7</a:t>
            </a:fld>
            <a:endParaRPr lang="en-US"/>
          </a:p>
        </p:txBody>
      </p:sp>
    </p:spTree>
    <p:extLst>
      <p:ext uri="{BB962C8B-B14F-4D97-AF65-F5344CB8AC3E}">
        <p14:creationId xmlns:p14="http://schemas.microsoft.com/office/powerpoint/2010/main" val="14406659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81B8B860-878D-42E0-A939-A76B42512671}" type="slidenum">
              <a:rPr lang="en-US" smtClean="0"/>
              <a:t>8</a:t>
            </a:fld>
            <a:endParaRPr lang="en-US"/>
          </a:p>
        </p:txBody>
      </p:sp>
    </p:spTree>
    <p:extLst>
      <p:ext uri="{BB962C8B-B14F-4D97-AF65-F5344CB8AC3E}">
        <p14:creationId xmlns:p14="http://schemas.microsoft.com/office/powerpoint/2010/main" val="20968663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Footer Placeholder 3"/>
          <p:cNvSpPr>
            <a:spLocks noGrp="1"/>
          </p:cNvSpPr>
          <p:nvPr>
            <p:ph type="ftr" sz="quarter" idx="10"/>
          </p:nvPr>
        </p:nvSpPr>
        <p:spPr/>
        <p:txBody>
          <a:bodyPr/>
          <a:lstStyle/>
          <a:p>
            <a:endParaRPr lang="en-US"/>
          </a:p>
        </p:txBody>
      </p:sp>
      <p:sp>
        <p:nvSpPr>
          <p:cNvPr id="5" name="Slide Number Placeholder 4"/>
          <p:cNvSpPr>
            <a:spLocks noGrp="1"/>
          </p:cNvSpPr>
          <p:nvPr>
            <p:ph type="sldNum" sz="quarter" idx="11"/>
          </p:nvPr>
        </p:nvSpPr>
        <p:spPr/>
        <p:txBody>
          <a:bodyPr/>
          <a:lstStyle/>
          <a:p>
            <a:fld id="{81B8B860-878D-42E0-A939-A76B42512671}" type="slidenum">
              <a:rPr lang="en-US" smtClean="0"/>
              <a:t>9</a:t>
            </a:fld>
            <a:endParaRPr lang="en-US"/>
          </a:p>
        </p:txBody>
      </p:sp>
    </p:spTree>
    <p:extLst>
      <p:ext uri="{BB962C8B-B14F-4D97-AF65-F5344CB8AC3E}">
        <p14:creationId xmlns:p14="http://schemas.microsoft.com/office/powerpoint/2010/main" val="4406075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xml"/><Relationship Id="rId7"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slideMaster" Target="../slideMasters/slideMaster2.xml"/><Relationship Id="rId5" Type="http://schemas.openxmlformats.org/officeDocument/2006/relationships/tags" Target="../tags/tag11.xml"/><Relationship Id="rId4" Type="http://schemas.openxmlformats.org/officeDocument/2006/relationships/tags" Target="../tags/tag10.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3.emf"/><Relationship Id="rId4" Type="http://schemas.openxmlformats.org/officeDocument/2006/relationships/tags" Target="../tags/tag5.xml"/><Relationship Id="rId9"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5" name="Freeform 4"/>
          <p:cNvSpPr/>
          <p:nvPr userDrawn="1"/>
        </p:nvSpPr>
        <p:spPr>
          <a:xfrm rot="1317772">
            <a:off x="-531713" y="130198"/>
            <a:ext cx="8371914" cy="7899067"/>
          </a:xfrm>
          <a:custGeom>
            <a:avLst/>
            <a:gdLst>
              <a:gd name="connsiteX0" fmla="*/ 0 w 431321"/>
              <a:gd name="connsiteY0" fmla="*/ 0 h 3278038"/>
              <a:gd name="connsiteX1" fmla="*/ 431321 w 431321"/>
              <a:gd name="connsiteY1" fmla="*/ 0 h 3278038"/>
              <a:gd name="connsiteX2" fmla="*/ 431321 w 431321"/>
              <a:gd name="connsiteY2" fmla="*/ 3278038 h 3278038"/>
              <a:gd name="connsiteX3" fmla="*/ 0 w 431321"/>
              <a:gd name="connsiteY3" fmla="*/ 3278038 h 3278038"/>
              <a:gd name="connsiteX4" fmla="*/ 0 w 431321"/>
              <a:gd name="connsiteY4" fmla="*/ 0 h 3278038"/>
              <a:gd name="connsiteX0" fmla="*/ 0 w 1952909"/>
              <a:gd name="connsiteY0" fmla="*/ 1033753 h 3278038"/>
              <a:gd name="connsiteX1" fmla="*/ 1952909 w 1952909"/>
              <a:gd name="connsiteY1" fmla="*/ 0 h 3278038"/>
              <a:gd name="connsiteX2" fmla="*/ 1952909 w 1952909"/>
              <a:gd name="connsiteY2" fmla="*/ 3278038 h 3278038"/>
              <a:gd name="connsiteX3" fmla="*/ 1521588 w 1952909"/>
              <a:gd name="connsiteY3" fmla="*/ 3278038 h 3278038"/>
              <a:gd name="connsiteX4" fmla="*/ 0 w 1952909"/>
              <a:gd name="connsiteY4" fmla="*/ 1033753 h 3278038"/>
              <a:gd name="connsiteX0" fmla="*/ 0 w 3541702"/>
              <a:gd name="connsiteY0" fmla="*/ 1888300 h 3278038"/>
              <a:gd name="connsiteX1" fmla="*/ 3541702 w 3541702"/>
              <a:gd name="connsiteY1" fmla="*/ 0 h 3278038"/>
              <a:gd name="connsiteX2" fmla="*/ 3541702 w 3541702"/>
              <a:gd name="connsiteY2" fmla="*/ 3278038 h 3278038"/>
              <a:gd name="connsiteX3" fmla="*/ 3110381 w 3541702"/>
              <a:gd name="connsiteY3" fmla="*/ 3278038 h 3278038"/>
              <a:gd name="connsiteX4" fmla="*/ 0 w 3541702"/>
              <a:gd name="connsiteY4" fmla="*/ 1888300 h 3278038"/>
              <a:gd name="connsiteX0" fmla="*/ 0 w 3541702"/>
              <a:gd name="connsiteY0" fmla="*/ 1888300 h 5723271"/>
              <a:gd name="connsiteX1" fmla="*/ 3541702 w 3541702"/>
              <a:gd name="connsiteY1" fmla="*/ 0 h 5723271"/>
              <a:gd name="connsiteX2" fmla="*/ 3541702 w 3541702"/>
              <a:gd name="connsiteY2" fmla="*/ 3278038 h 5723271"/>
              <a:gd name="connsiteX3" fmla="*/ 2039089 w 3541702"/>
              <a:gd name="connsiteY3" fmla="*/ 5723271 h 5723271"/>
              <a:gd name="connsiteX4" fmla="*/ 0 w 3541702"/>
              <a:gd name="connsiteY4" fmla="*/ 1888300 h 5723271"/>
              <a:gd name="connsiteX0" fmla="*/ 0 w 3541702"/>
              <a:gd name="connsiteY0" fmla="*/ 1888300 h 5723271"/>
              <a:gd name="connsiteX1" fmla="*/ 3541702 w 3541702"/>
              <a:gd name="connsiteY1" fmla="*/ 0 h 5723271"/>
              <a:gd name="connsiteX2" fmla="*/ 3530999 w 3541702"/>
              <a:gd name="connsiteY2" fmla="*/ 4930010 h 5723271"/>
              <a:gd name="connsiteX3" fmla="*/ 2039089 w 3541702"/>
              <a:gd name="connsiteY3" fmla="*/ 5723271 h 5723271"/>
              <a:gd name="connsiteX4" fmla="*/ 0 w 3541702"/>
              <a:gd name="connsiteY4" fmla="*/ 1888300 h 5723271"/>
              <a:gd name="connsiteX0" fmla="*/ 0 w 5020365"/>
              <a:gd name="connsiteY0" fmla="*/ 2673844 h 5723271"/>
              <a:gd name="connsiteX1" fmla="*/ 5020365 w 5020365"/>
              <a:gd name="connsiteY1" fmla="*/ 0 h 5723271"/>
              <a:gd name="connsiteX2" fmla="*/ 5009662 w 5020365"/>
              <a:gd name="connsiteY2" fmla="*/ 4930010 h 5723271"/>
              <a:gd name="connsiteX3" fmla="*/ 3517752 w 5020365"/>
              <a:gd name="connsiteY3" fmla="*/ 5723271 h 5723271"/>
              <a:gd name="connsiteX4" fmla="*/ 0 w 5020365"/>
              <a:gd name="connsiteY4" fmla="*/ 2673844 h 5723271"/>
              <a:gd name="connsiteX0" fmla="*/ 0 w 5020365"/>
              <a:gd name="connsiteY0" fmla="*/ 2673844 h 7012041"/>
              <a:gd name="connsiteX1" fmla="*/ 5020365 w 5020365"/>
              <a:gd name="connsiteY1" fmla="*/ 0 h 7012041"/>
              <a:gd name="connsiteX2" fmla="*/ 5009662 w 5020365"/>
              <a:gd name="connsiteY2" fmla="*/ 4930010 h 7012041"/>
              <a:gd name="connsiteX3" fmla="*/ 2306660 w 5020365"/>
              <a:gd name="connsiteY3" fmla="*/ 7012041 h 7012041"/>
              <a:gd name="connsiteX4" fmla="*/ 0 w 5020365"/>
              <a:gd name="connsiteY4" fmla="*/ 2673844 h 7012041"/>
              <a:gd name="connsiteX0" fmla="*/ 0 w 5021554"/>
              <a:gd name="connsiteY0" fmla="*/ 2673844 h 7012041"/>
              <a:gd name="connsiteX1" fmla="*/ 5020365 w 5021554"/>
              <a:gd name="connsiteY1" fmla="*/ 0 h 7012041"/>
              <a:gd name="connsiteX2" fmla="*/ 5017986 w 5021554"/>
              <a:gd name="connsiteY2" fmla="*/ 5570404 h 7012041"/>
              <a:gd name="connsiteX3" fmla="*/ 2306660 w 5021554"/>
              <a:gd name="connsiteY3" fmla="*/ 7012041 h 7012041"/>
              <a:gd name="connsiteX4" fmla="*/ 0 w 5021554"/>
              <a:gd name="connsiteY4" fmla="*/ 2673844 h 7012041"/>
              <a:gd name="connsiteX0" fmla="*/ 0 w 5850422"/>
              <a:gd name="connsiteY0" fmla="*/ 3114561 h 7012041"/>
              <a:gd name="connsiteX1" fmla="*/ 5849233 w 5850422"/>
              <a:gd name="connsiteY1" fmla="*/ 0 h 7012041"/>
              <a:gd name="connsiteX2" fmla="*/ 5846854 w 5850422"/>
              <a:gd name="connsiteY2" fmla="*/ 5570404 h 7012041"/>
              <a:gd name="connsiteX3" fmla="*/ 3135528 w 5850422"/>
              <a:gd name="connsiteY3" fmla="*/ 7012041 h 7012041"/>
              <a:gd name="connsiteX4" fmla="*/ 0 w 5850422"/>
              <a:gd name="connsiteY4" fmla="*/ 3114561 h 7012041"/>
              <a:gd name="connsiteX0" fmla="*/ 0 w 5850422"/>
              <a:gd name="connsiteY0" fmla="*/ 3114561 h 7452758"/>
              <a:gd name="connsiteX1" fmla="*/ 5849233 w 5850422"/>
              <a:gd name="connsiteY1" fmla="*/ 0 h 7452758"/>
              <a:gd name="connsiteX2" fmla="*/ 5846854 w 5850422"/>
              <a:gd name="connsiteY2" fmla="*/ 5570404 h 7452758"/>
              <a:gd name="connsiteX3" fmla="*/ 2306661 w 5850422"/>
              <a:gd name="connsiteY3" fmla="*/ 7452758 h 7452758"/>
              <a:gd name="connsiteX4" fmla="*/ 0 w 5850422"/>
              <a:gd name="connsiteY4" fmla="*/ 3114561 h 7452758"/>
              <a:gd name="connsiteX0" fmla="*/ 0 w 5029754"/>
              <a:gd name="connsiteY0" fmla="*/ 2707663 h 7452758"/>
              <a:gd name="connsiteX1" fmla="*/ 5029755 w 5029754"/>
              <a:gd name="connsiteY1" fmla="*/ 0 h 7452758"/>
              <a:gd name="connsiteX2" fmla="*/ 5027376 w 5029754"/>
              <a:gd name="connsiteY2" fmla="*/ 5570404 h 7452758"/>
              <a:gd name="connsiteX3" fmla="*/ 1487183 w 5029754"/>
              <a:gd name="connsiteY3" fmla="*/ 7452758 h 7452758"/>
              <a:gd name="connsiteX4" fmla="*/ 0 w 5029754"/>
              <a:gd name="connsiteY4" fmla="*/ 2707663 h 7452758"/>
              <a:gd name="connsiteX0" fmla="*/ 0 w 5029755"/>
              <a:gd name="connsiteY0" fmla="*/ 2707663 h 6363395"/>
              <a:gd name="connsiteX1" fmla="*/ 5029755 w 5029755"/>
              <a:gd name="connsiteY1" fmla="*/ 0 h 6363395"/>
              <a:gd name="connsiteX2" fmla="*/ 5027376 w 5029755"/>
              <a:gd name="connsiteY2" fmla="*/ 5570404 h 6363395"/>
              <a:gd name="connsiteX3" fmla="*/ 1102726 w 5029755"/>
              <a:gd name="connsiteY3" fmla="*/ 6363395 h 6363395"/>
              <a:gd name="connsiteX4" fmla="*/ 0 w 5029755"/>
              <a:gd name="connsiteY4" fmla="*/ 2707663 h 6363395"/>
              <a:gd name="connsiteX0" fmla="*/ 0 w 5032743"/>
              <a:gd name="connsiteY0" fmla="*/ 2707663 h 6363395"/>
              <a:gd name="connsiteX1" fmla="*/ 5029755 w 5032743"/>
              <a:gd name="connsiteY1" fmla="*/ 0 h 6363395"/>
              <a:gd name="connsiteX2" fmla="*/ 5031912 w 5032743"/>
              <a:gd name="connsiteY2" fmla="*/ 4244851 h 6363395"/>
              <a:gd name="connsiteX3" fmla="*/ 1102726 w 5032743"/>
              <a:gd name="connsiteY3" fmla="*/ 6363395 h 6363395"/>
              <a:gd name="connsiteX4" fmla="*/ 0 w 5032743"/>
              <a:gd name="connsiteY4" fmla="*/ 2707663 h 6363395"/>
              <a:gd name="connsiteX0" fmla="*/ 0 w 5044894"/>
              <a:gd name="connsiteY0" fmla="*/ 2707663 h 6363395"/>
              <a:gd name="connsiteX1" fmla="*/ 5029755 w 5044894"/>
              <a:gd name="connsiteY1" fmla="*/ 0 h 6363395"/>
              <a:gd name="connsiteX2" fmla="*/ 5044500 w 5044894"/>
              <a:gd name="connsiteY2" fmla="*/ 4238153 h 6363395"/>
              <a:gd name="connsiteX3" fmla="*/ 1102726 w 5044894"/>
              <a:gd name="connsiteY3" fmla="*/ 6363395 h 6363395"/>
              <a:gd name="connsiteX4" fmla="*/ 0 w 5044894"/>
              <a:gd name="connsiteY4" fmla="*/ 2707663 h 6363395"/>
              <a:gd name="connsiteX0" fmla="*/ 0 w 5044894"/>
              <a:gd name="connsiteY0" fmla="*/ 2707663 h 6346611"/>
              <a:gd name="connsiteX1" fmla="*/ 5029755 w 5044894"/>
              <a:gd name="connsiteY1" fmla="*/ 0 h 6346611"/>
              <a:gd name="connsiteX2" fmla="*/ 5044500 w 5044894"/>
              <a:gd name="connsiteY2" fmla="*/ 4238153 h 6346611"/>
              <a:gd name="connsiteX3" fmla="*/ 1097702 w 5044894"/>
              <a:gd name="connsiteY3" fmla="*/ 6346611 h 6346611"/>
              <a:gd name="connsiteX4" fmla="*/ 0 w 5044894"/>
              <a:gd name="connsiteY4" fmla="*/ 2707663 h 6346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4894" h="6346611">
                <a:moveTo>
                  <a:pt x="0" y="2707663"/>
                </a:moveTo>
                <a:lnTo>
                  <a:pt x="5029755" y="0"/>
                </a:lnTo>
                <a:cubicBezTo>
                  <a:pt x="5026187" y="1643337"/>
                  <a:pt x="5048068" y="2594816"/>
                  <a:pt x="5044500" y="4238153"/>
                </a:cubicBezTo>
                <a:lnTo>
                  <a:pt x="1097702" y="6346611"/>
                </a:lnTo>
                <a:lnTo>
                  <a:pt x="0" y="270766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ctrTitle"/>
          </p:nvPr>
        </p:nvSpPr>
        <p:spPr>
          <a:xfrm>
            <a:off x="613833" y="2268449"/>
            <a:ext cx="6298800" cy="417602"/>
          </a:xfrm>
          <a:custGeom>
            <a:avLst/>
            <a:gdLst>
              <a:gd name="connsiteX0" fmla="*/ 0 w 4724100"/>
              <a:gd name="connsiteY0" fmla="*/ 0 h 1470025"/>
              <a:gd name="connsiteX1" fmla="*/ 4724100 w 4724100"/>
              <a:gd name="connsiteY1" fmla="*/ 0 h 1470025"/>
              <a:gd name="connsiteX2" fmla="*/ 4724100 w 4724100"/>
              <a:gd name="connsiteY2" fmla="*/ 1470025 h 1470025"/>
              <a:gd name="connsiteX3" fmla="*/ 0 w 4724100"/>
              <a:gd name="connsiteY3" fmla="*/ 1470025 h 1470025"/>
              <a:gd name="connsiteX4" fmla="*/ 0 w 4724100"/>
              <a:gd name="connsiteY4" fmla="*/ 0 h 147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4100" h="1470025">
                <a:moveTo>
                  <a:pt x="0" y="0"/>
                </a:moveTo>
                <a:lnTo>
                  <a:pt x="4724100" y="0"/>
                </a:lnTo>
                <a:lnTo>
                  <a:pt x="4724100" y="1470025"/>
                </a:lnTo>
                <a:lnTo>
                  <a:pt x="0" y="1470025"/>
                </a:lnTo>
                <a:lnTo>
                  <a:pt x="0" y="0"/>
                </a:lnTo>
                <a:close/>
              </a:path>
            </a:pathLst>
          </a:custGeom>
        </p:spPr>
        <p:txBody>
          <a:bodyPr lIns="0" tIns="0" rIns="0" bIns="0"/>
          <a:lstStyle>
            <a:lvl1pPr algn="l">
              <a:defRPr sz="24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13833" y="2749849"/>
            <a:ext cx="5486400" cy="677565"/>
          </a:xfrm>
          <a:prstGeom prst="rect">
            <a:avLst/>
          </a:prstGeom>
        </p:spPr>
        <p:txBody>
          <a:bodyPr lIns="0" tIns="0" rIns="0" bIns="0"/>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Text Column">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601133" y="1944688"/>
            <a:ext cx="5308600" cy="4448175"/>
          </a:xfrm>
          <a:prstGeom prst="rect">
            <a:avLst/>
          </a:prstGeom>
        </p:spPr>
        <p:txBody>
          <a:bodyPr lIns="0" tIns="0" rIns="0" bIns="0"/>
          <a:lstStyle>
            <a:lvl1pPr marL="228600" indent="-228600">
              <a:buNone/>
              <a:defRPr sz="1600">
                <a:solidFill>
                  <a:schemeClr val="tx1"/>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11" name="Text Placeholder 9"/>
          <p:cNvSpPr>
            <a:spLocks noGrp="1"/>
          </p:cNvSpPr>
          <p:nvPr>
            <p:ph type="body" sz="quarter" idx="11"/>
          </p:nvPr>
        </p:nvSpPr>
        <p:spPr>
          <a:xfrm>
            <a:off x="6261100" y="1944688"/>
            <a:ext cx="5325533" cy="4448175"/>
          </a:xfrm>
          <a:prstGeom prst="rect">
            <a:avLst/>
          </a:prstGeom>
        </p:spPr>
        <p:txBody>
          <a:bodyPr lIns="0" tIns="0" rIns="0" bIns="0"/>
          <a:lstStyle>
            <a:lvl1pPr marL="228600" indent="-228600">
              <a:buNone/>
              <a:defRPr sz="1600">
                <a:solidFill>
                  <a:schemeClr val="tx1"/>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7" name="Title 1"/>
          <p:cNvSpPr>
            <a:spLocks noGrp="1"/>
          </p:cNvSpPr>
          <p:nvPr>
            <p:ph type="ctrTitle"/>
          </p:nvPr>
        </p:nvSpPr>
        <p:spPr>
          <a:xfrm>
            <a:off x="601134" y="422275"/>
            <a:ext cx="8235951"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8" name="Text Placeholder 11"/>
          <p:cNvSpPr>
            <a:spLocks noGrp="1"/>
          </p:cNvSpPr>
          <p:nvPr>
            <p:ph type="body" sz="quarter" idx="12"/>
          </p:nvPr>
        </p:nvSpPr>
        <p:spPr>
          <a:xfrm>
            <a:off x="601133" y="800101"/>
            <a:ext cx="8235951"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14"/>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2 Text Column">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601133" y="1944688"/>
            <a:ext cx="5308600" cy="2798763"/>
          </a:xfrm>
          <a:prstGeom prst="rect">
            <a:avLst/>
          </a:prstGeom>
        </p:spPr>
        <p:txBody>
          <a:bodyPr lIns="0" tIns="0" rIns="0" bIns="0"/>
          <a:lstStyle>
            <a:lvl1pPr marL="228600" indent="-228600">
              <a:buNone/>
              <a:defRPr sz="1600">
                <a:solidFill>
                  <a:schemeClr val="tx1"/>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11" name="Text Placeholder 9"/>
          <p:cNvSpPr>
            <a:spLocks noGrp="1"/>
          </p:cNvSpPr>
          <p:nvPr>
            <p:ph type="body" sz="quarter" idx="11"/>
          </p:nvPr>
        </p:nvSpPr>
        <p:spPr>
          <a:xfrm>
            <a:off x="6261100" y="1944688"/>
            <a:ext cx="5325533" cy="2798763"/>
          </a:xfrm>
          <a:prstGeom prst="rect">
            <a:avLst/>
          </a:prstGeom>
        </p:spPr>
        <p:txBody>
          <a:bodyPr lIns="0" tIns="0" rIns="0" bIns="0"/>
          <a:lstStyle>
            <a:lvl1pPr marL="228600" indent="-228600">
              <a:buNone/>
              <a:defRPr sz="1600">
                <a:solidFill>
                  <a:schemeClr val="tx1"/>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7" name="Picture Placeholder 10"/>
          <p:cNvSpPr>
            <a:spLocks noGrp="1"/>
          </p:cNvSpPr>
          <p:nvPr>
            <p:ph type="pic" sz="quarter" idx="13"/>
          </p:nvPr>
        </p:nvSpPr>
        <p:spPr>
          <a:xfrm>
            <a:off x="6100234" y="4921250"/>
            <a:ext cx="6091767" cy="1936750"/>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2619375 w 4972049"/>
              <a:gd name="connsiteY0" fmla="*/ 0 h 4913313"/>
              <a:gd name="connsiteX1" fmla="*/ 4962524 w 4972049"/>
              <a:gd name="connsiteY1" fmla="*/ 1568451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4972049"/>
              <a:gd name="connsiteY0" fmla="*/ 0 h 4913313"/>
              <a:gd name="connsiteX1" fmla="*/ 4972049 w 4972049"/>
              <a:gd name="connsiteY1" fmla="*/ 2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5143499"/>
              <a:gd name="connsiteY0" fmla="*/ 0 h 4913313"/>
              <a:gd name="connsiteX1" fmla="*/ 5143499 w 5143499"/>
              <a:gd name="connsiteY1" fmla="*/ 0 h 4913313"/>
              <a:gd name="connsiteX2" fmla="*/ 4972049 w 5143499"/>
              <a:gd name="connsiteY2" fmla="*/ 4913313 h 4913313"/>
              <a:gd name="connsiteX3" fmla="*/ 0 w 5143499"/>
              <a:gd name="connsiteY3" fmla="*/ 4913313 h 4913313"/>
              <a:gd name="connsiteX4" fmla="*/ 2619375 w 5143499"/>
              <a:gd name="connsiteY4" fmla="*/ 0 h 4913313"/>
              <a:gd name="connsiteX0" fmla="*/ 2619375 w 5143499"/>
              <a:gd name="connsiteY0" fmla="*/ 0 h 4913314"/>
              <a:gd name="connsiteX1" fmla="*/ 5143499 w 5143499"/>
              <a:gd name="connsiteY1" fmla="*/ 0 h 4913314"/>
              <a:gd name="connsiteX2" fmla="*/ 5143499 w 5143499"/>
              <a:gd name="connsiteY2" fmla="*/ 4913314 h 4913314"/>
              <a:gd name="connsiteX3" fmla="*/ 0 w 5143499"/>
              <a:gd name="connsiteY3" fmla="*/ 4913313 h 4913314"/>
              <a:gd name="connsiteX4" fmla="*/ 2619375 w 5143499"/>
              <a:gd name="connsiteY4" fmla="*/ 0 h 4913314"/>
              <a:gd name="connsiteX0" fmla="*/ 1820862 w 5143499"/>
              <a:gd name="connsiteY0" fmla="*/ 1482726 h 4913314"/>
              <a:gd name="connsiteX1" fmla="*/ 5143499 w 5143499"/>
              <a:gd name="connsiteY1" fmla="*/ 0 h 4913314"/>
              <a:gd name="connsiteX2" fmla="*/ 5143499 w 5143499"/>
              <a:gd name="connsiteY2" fmla="*/ 4913314 h 4913314"/>
              <a:gd name="connsiteX3" fmla="*/ 0 w 5143499"/>
              <a:gd name="connsiteY3" fmla="*/ 4913313 h 4913314"/>
              <a:gd name="connsiteX4" fmla="*/ 1820862 w 5143499"/>
              <a:gd name="connsiteY4" fmla="*/ 1482726 h 4913314"/>
              <a:gd name="connsiteX0" fmla="*/ 1820862 w 5143499"/>
              <a:gd name="connsiteY0" fmla="*/ 0 h 3430588"/>
              <a:gd name="connsiteX1" fmla="*/ 5143499 w 5143499"/>
              <a:gd name="connsiteY1" fmla="*/ 0 h 3430588"/>
              <a:gd name="connsiteX2" fmla="*/ 5143499 w 5143499"/>
              <a:gd name="connsiteY2" fmla="*/ 3430588 h 3430588"/>
              <a:gd name="connsiteX3" fmla="*/ 0 w 5143499"/>
              <a:gd name="connsiteY3" fmla="*/ 3430587 h 3430588"/>
              <a:gd name="connsiteX4" fmla="*/ 1820862 w 5143499"/>
              <a:gd name="connsiteY4" fmla="*/ 0 h 3430588"/>
              <a:gd name="connsiteX0" fmla="*/ 1030287 w 5143499"/>
              <a:gd name="connsiteY0" fmla="*/ 1493837 h 3430588"/>
              <a:gd name="connsiteX1" fmla="*/ 5143499 w 5143499"/>
              <a:gd name="connsiteY1" fmla="*/ 0 h 3430588"/>
              <a:gd name="connsiteX2" fmla="*/ 5143499 w 5143499"/>
              <a:gd name="connsiteY2" fmla="*/ 3430588 h 3430588"/>
              <a:gd name="connsiteX3" fmla="*/ 0 w 5143499"/>
              <a:gd name="connsiteY3" fmla="*/ 3430587 h 3430588"/>
              <a:gd name="connsiteX4" fmla="*/ 1030287 w 5143499"/>
              <a:gd name="connsiteY4" fmla="*/ 1493837 h 3430588"/>
              <a:gd name="connsiteX0" fmla="*/ 1030287 w 5143499"/>
              <a:gd name="connsiteY0" fmla="*/ 0 h 1936751"/>
              <a:gd name="connsiteX1" fmla="*/ 5143499 w 5143499"/>
              <a:gd name="connsiteY1" fmla="*/ 0 h 1936751"/>
              <a:gd name="connsiteX2" fmla="*/ 5143499 w 5143499"/>
              <a:gd name="connsiteY2" fmla="*/ 1936751 h 1936751"/>
              <a:gd name="connsiteX3" fmla="*/ 0 w 5143499"/>
              <a:gd name="connsiteY3" fmla="*/ 1936750 h 1936751"/>
              <a:gd name="connsiteX4" fmla="*/ 1030287 w 5143499"/>
              <a:gd name="connsiteY4" fmla="*/ 0 h 1936751"/>
              <a:gd name="connsiteX0" fmla="*/ 1030287 w 5143499"/>
              <a:gd name="connsiteY0" fmla="*/ 0 h 1936751"/>
              <a:gd name="connsiteX1" fmla="*/ 4581524 w 5143499"/>
              <a:gd name="connsiteY1" fmla="*/ 0 h 1936751"/>
              <a:gd name="connsiteX2" fmla="*/ 5143499 w 5143499"/>
              <a:gd name="connsiteY2" fmla="*/ 1936751 h 1936751"/>
              <a:gd name="connsiteX3" fmla="*/ 0 w 5143499"/>
              <a:gd name="connsiteY3" fmla="*/ 1936750 h 1936751"/>
              <a:gd name="connsiteX4" fmla="*/ 1030287 w 5143499"/>
              <a:gd name="connsiteY4" fmla="*/ 0 h 1936751"/>
              <a:gd name="connsiteX0" fmla="*/ 1030287 w 4581524"/>
              <a:gd name="connsiteY0" fmla="*/ 0 h 1936751"/>
              <a:gd name="connsiteX1" fmla="*/ 4581524 w 4581524"/>
              <a:gd name="connsiteY1" fmla="*/ 0 h 1936751"/>
              <a:gd name="connsiteX2" fmla="*/ 4581524 w 4581524"/>
              <a:gd name="connsiteY2" fmla="*/ 1936751 h 1936751"/>
              <a:gd name="connsiteX3" fmla="*/ 0 w 4581524"/>
              <a:gd name="connsiteY3" fmla="*/ 1936750 h 1936751"/>
              <a:gd name="connsiteX4" fmla="*/ 1030287 w 4581524"/>
              <a:gd name="connsiteY4" fmla="*/ 0 h 1936751"/>
              <a:gd name="connsiteX0" fmla="*/ 1030287 w 5429249"/>
              <a:gd name="connsiteY0" fmla="*/ 0 h 1936751"/>
              <a:gd name="connsiteX1" fmla="*/ 5429249 w 5429249"/>
              <a:gd name="connsiteY1" fmla="*/ 0 h 1936751"/>
              <a:gd name="connsiteX2" fmla="*/ 4581524 w 5429249"/>
              <a:gd name="connsiteY2" fmla="*/ 1936751 h 1936751"/>
              <a:gd name="connsiteX3" fmla="*/ 0 w 5429249"/>
              <a:gd name="connsiteY3" fmla="*/ 1936750 h 1936751"/>
              <a:gd name="connsiteX4" fmla="*/ 1030287 w 5429249"/>
              <a:gd name="connsiteY4" fmla="*/ 0 h 1936751"/>
              <a:gd name="connsiteX0" fmla="*/ 1030287 w 5429249"/>
              <a:gd name="connsiteY0" fmla="*/ 0 h 1936750"/>
              <a:gd name="connsiteX1" fmla="*/ 5429249 w 5429249"/>
              <a:gd name="connsiteY1" fmla="*/ 0 h 1936750"/>
              <a:gd name="connsiteX2" fmla="*/ 5429249 w 5429249"/>
              <a:gd name="connsiteY2" fmla="*/ 1936750 h 1936750"/>
              <a:gd name="connsiteX3" fmla="*/ 0 w 5429249"/>
              <a:gd name="connsiteY3" fmla="*/ 1936750 h 1936750"/>
              <a:gd name="connsiteX4" fmla="*/ 1030287 w 5429249"/>
              <a:gd name="connsiteY4" fmla="*/ 0 h 1936750"/>
              <a:gd name="connsiteX0" fmla="*/ 1030287 w 5429249"/>
              <a:gd name="connsiteY0" fmla="*/ 0 h 1936750"/>
              <a:gd name="connsiteX1" fmla="*/ 4568825 w 5429249"/>
              <a:gd name="connsiteY1" fmla="*/ 0 h 1936750"/>
              <a:gd name="connsiteX2" fmla="*/ 5429249 w 5429249"/>
              <a:gd name="connsiteY2" fmla="*/ 1936750 h 1936750"/>
              <a:gd name="connsiteX3" fmla="*/ 0 w 5429249"/>
              <a:gd name="connsiteY3" fmla="*/ 1936750 h 1936750"/>
              <a:gd name="connsiteX4" fmla="*/ 1030287 w 5429249"/>
              <a:gd name="connsiteY4" fmla="*/ 0 h 1936750"/>
              <a:gd name="connsiteX0" fmla="*/ 1030287 w 4568825"/>
              <a:gd name="connsiteY0" fmla="*/ 0 h 1936750"/>
              <a:gd name="connsiteX1" fmla="*/ 4568825 w 4568825"/>
              <a:gd name="connsiteY1" fmla="*/ 0 h 1936750"/>
              <a:gd name="connsiteX2" fmla="*/ 4568825 w 4568825"/>
              <a:gd name="connsiteY2" fmla="*/ 1936750 h 1936750"/>
              <a:gd name="connsiteX3" fmla="*/ 0 w 4568825"/>
              <a:gd name="connsiteY3" fmla="*/ 1936750 h 1936750"/>
              <a:gd name="connsiteX4" fmla="*/ 1030287 w 4568825"/>
              <a:gd name="connsiteY4" fmla="*/ 0 h 1936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825" h="1936750">
                <a:moveTo>
                  <a:pt x="1030287" y="0"/>
                </a:moveTo>
                <a:lnTo>
                  <a:pt x="4568825" y="0"/>
                </a:lnTo>
                <a:lnTo>
                  <a:pt x="4568825" y="1936750"/>
                </a:lnTo>
                <a:lnTo>
                  <a:pt x="0" y="1936750"/>
                </a:lnTo>
                <a:lnTo>
                  <a:pt x="1030287" y="0"/>
                </a:lnTo>
                <a:close/>
              </a:path>
            </a:pathLst>
          </a:custGeom>
        </p:spPr>
        <p:txBody>
          <a:bodyPr anchor="ctr"/>
          <a:lstStyle>
            <a:lvl1pPr algn="ctr">
              <a:defRPr/>
            </a:lvl1pPr>
          </a:lstStyle>
          <a:p>
            <a:endParaRPr lang="en-US" dirty="0"/>
          </a:p>
        </p:txBody>
      </p:sp>
      <p:sp>
        <p:nvSpPr>
          <p:cNvPr id="12" name="Picture Placeholder 11"/>
          <p:cNvSpPr>
            <a:spLocks noGrp="1"/>
          </p:cNvSpPr>
          <p:nvPr>
            <p:ph type="pic" sz="quarter" idx="14"/>
          </p:nvPr>
        </p:nvSpPr>
        <p:spPr>
          <a:xfrm>
            <a:off x="0" y="4921250"/>
            <a:ext cx="7188200" cy="1936750"/>
          </a:xfrm>
          <a:custGeom>
            <a:avLst/>
            <a:gdLst>
              <a:gd name="connsiteX0" fmla="*/ 0 w 5581650"/>
              <a:gd name="connsiteY0" fmla="*/ 0 h 1936750"/>
              <a:gd name="connsiteX1" fmla="*/ 5581650 w 5581650"/>
              <a:gd name="connsiteY1" fmla="*/ 0 h 1936750"/>
              <a:gd name="connsiteX2" fmla="*/ 5581650 w 5581650"/>
              <a:gd name="connsiteY2" fmla="*/ 1936750 h 1936750"/>
              <a:gd name="connsiteX3" fmla="*/ 0 w 5581650"/>
              <a:gd name="connsiteY3" fmla="*/ 1936750 h 1936750"/>
              <a:gd name="connsiteX4" fmla="*/ 0 w 5581650"/>
              <a:gd name="connsiteY4" fmla="*/ 0 h 1936750"/>
              <a:gd name="connsiteX0" fmla="*/ 0 w 5581650"/>
              <a:gd name="connsiteY0" fmla="*/ 0 h 1936750"/>
              <a:gd name="connsiteX1" fmla="*/ 5581650 w 5581650"/>
              <a:gd name="connsiteY1" fmla="*/ 0 h 1936750"/>
              <a:gd name="connsiteX2" fmla="*/ 4562476 w 5581650"/>
              <a:gd name="connsiteY2" fmla="*/ 1936750 h 1936750"/>
              <a:gd name="connsiteX3" fmla="*/ 0 w 5581650"/>
              <a:gd name="connsiteY3" fmla="*/ 1936750 h 1936750"/>
              <a:gd name="connsiteX4" fmla="*/ 0 w 5581650"/>
              <a:gd name="connsiteY4" fmla="*/ 0 h 1936750"/>
              <a:gd name="connsiteX0" fmla="*/ 161925 w 5581650"/>
              <a:gd name="connsiteY0" fmla="*/ 0 h 1936750"/>
              <a:gd name="connsiteX1" fmla="*/ 5581650 w 5581650"/>
              <a:gd name="connsiteY1" fmla="*/ 0 h 1936750"/>
              <a:gd name="connsiteX2" fmla="*/ 4562476 w 5581650"/>
              <a:gd name="connsiteY2" fmla="*/ 1936750 h 1936750"/>
              <a:gd name="connsiteX3" fmla="*/ 0 w 5581650"/>
              <a:gd name="connsiteY3" fmla="*/ 1936750 h 1936750"/>
              <a:gd name="connsiteX4" fmla="*/ 161925 w 5581650"/>
              <a:gd name="connsiteY4" fmla="*/ 0 h 1936750"/>
              <a:gd name="connsiteX0" fmla="*/ 0 w 5419725"/>
              <a:gd name="connsiteY0" fmla="*/ 0 h 1936751"/>
              <a:gd name="connsiteX1" fmla="*/ 5419725 w 5419725"/>
              <a:gd name="connsiteY1" fmla="*/ 0 h 1936751"/>
              <a:gd name="connsiteX2" fmla="*/ 4400551 w 5419725"/>
              <a:gd name="connsiteY2" fmla="*/ 1936750 h 1936751"/>
              <a:gd name="connsiteX3" fmla="*/ 0 w 5419725"/>
              <a:gd name="connsiteY3" fmla="*/ 1936751 h 1936751"/>
              <a:gd name="connsiteX4" fmla="*/ 0 w 5419725"/>
              <a:gd name="connsiteY4" fmla="*/ 0 h 1936751"/>
              <a:gd name="connsiteX0" fmla="*/ 838200 w 5419725"/>
              <a:gd name="connsiteY0" fmla="*/ 0 h 1936751"/>
              <a:gd name="connsiteX1" fmla="*/ 5419725 w 5419725"/>
              <a:gd name="connsiteY1" fmla="*/ 0 h 1936751"/>
              <a:gd name="connsiteX2" fmla="*/ 4400551 w 5419725"/>
              <a:gd name="connsiteY2" fmla="*/ 1936750 h 1936751"/>
              <a:gd name="connsiteX3" fmla="*/ 0 w 5419725"/>
              <a:gd name="connsiteY3" fmla="*/ 1936751 h 1936751"/>
              <a:gd name="connsiteX4" fmla="*/ 838200 w 5419725"/>
              <a:gd name="connsiteY4" fmla="*/ 0 h 1936751"/>
              <a:gd name="connsiteX0" fmla="*/ 0 w 4581525"/>
              <a:gd name="connsiteY0" fmla="*/ 0 h 1936750"/>
              <a:gd name="connsiteX1" fmla="*/ 4581525 w 4581525"/>
              <a:gd name="connsiteY1" fmla="*/ 0 h 1936750"/>
              <a:gd name="connsiteX2" fmla="*/ 3562351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3562351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2695575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3543300 w 4581525"/>
              <a:gd name="connsiteY2" fmla="*/ 1936750 h 1936750"/>
              <a:gd name="connsiteX3" fmla="*/ 0 w 4581525"/>
              <a:gd name="connsiteY3" fmla="*/ 1936750 h 1936750"/>
              <a:gd name="connsiteX4" fmla="*/ 0 w 4581525"/>
              <a:gd name="connsiteY4" fmla="*/ 0 h 1936750"/>
              <a:gd name="connsiteX0" fmla="*/ 0 w 5353050"/>
              <a:gd name="connsiteY0" fmla="*/ 0 h 1936750"/>
              <a:gd name="connsiteX1" fmla="*/ 5353050 w 5353050"/>
              <a:gd name="connsiteY1" fmla="*/ 0 h 1936750"/>
              <a:gd name="connsiteX2" fmla="*/ 4314825 w 5353050"/>
              <a:gd name="connsiteY2" fmla="*/ 1936750 h 1936750"/>
              <a:gd name="connsiteX3" fmla="*/ 771525 w 5353050"/>
              <a:gd name="connsiteY3" fmla="*/ 1936750 h 1936750"/>
              <a:gd name="connsiteX4" fmla="*/ 0 w 5353050"/>
              <a:gd name="connsiteY4" fmla="*/ 0 h 1936750"/>
              <a:gd name="connsiteX0" fmla="*/ 0 w 5353050"/>
              <a:gd name="connsiteY0" fmla="*/ 0 h 1936750"/>
              <a:gd name="connsiteX1" fmla="*/ 5353050 w 5353050"/>
              <a:gd name="connsiteY1" fmla="*/ 0 h 1936750"/>
              <a:gd name="connsiteX2" fmla="*/ 4314825 w 5353050"/>
              <a:gd name="connsiteY2" fmla="*/ 1936750 h 1936750"/>
              <a:gd name="connsiteX3" fmla="*/ 0 w 5353050"/>
              <a:gd name="connsiteY3" fmla="*/ 1936750 h 1936750"/>
              <a:gd name="connsiteX4" fmla="*/ 0 w 5353050"/>
              <a:gd name="connsiteY4" fmla="*/ 0 h 1936750"/>
              <a:gd name="connsiteX0" fmla="*/ 0 w 5391150"/>
              <a:gd name="connsiteY0" fmla="*/ 0 h 1936750"/>
              <a:gd name="connsiteX1" fmla="*/ 5391150 w 5391150"/>
              <a:gd name="connsiteY1" fmla="*/ 0 h 1936750"/>
              <a:gd name="connsiteX2" fmla="*/ 4352925 w 5391150"/>
              <a:gd name="connsiteY2" fmla="*/ 1936750 h 1936750"/>
              <a:gd name="connsiteX3" fmla="*/ 38100 w 5391150"/>
              <a:gd name="connsiteY3" fmla="*/ 1936750 h 1936750"/>
              <a:gd name="connsiteX4" fmla="*/ 0 w 5391150"/>
              <a:gd name="connsiteY4" fmla="*/ 0 h 1936750"/>
              <a:gd name="connsiteX0" fmla="*/ 0 w 5391150"/>
              <a:gd name="connsiteY0" fmla="*/ 0 h 1936750"/>
              <a:gd name="connsiteX1" fmla="*/ 5391150 w 5391150"/>
              <a:gd name="connsiteY1" fmla="*/ 0 h 1936750"/>
              <a:gd name="connsiteX2" fmla="*/ 4352925 w 5391150"/>
              <a:gd name="connsiteY2" fmla="*/ 1936750 h 1936750"/>
              <a:gd name="connsiteX3" fmla="*/ 0 w 5391150"/>
              <a:gd name="connsiteY3" fmla="*/ 1936750 h 1936750"/>
              <a:gd name="connsiteX4" fmla="*/ 0 w 5391150"/>
              <a:gd name="connsiteY4" fmla="*/ 0 h 1936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150" h="1936750">
                <a:moveTo>
                  <a:pt x="0" y="0"/>
                </a:moveTo>
                <a:lnTo>
                  <a:pt x="5391150" y="0"/>
                </a:lnTo>
                <a:lnTo>
                  <a:pt x="4352925" y="1936750"/>
                </a:lnTo>
                <a:lnTo>
                  <a:pt x="0" y="1936750"/>
                </a:lnTo>
                <a:lnTo>
                  <a:pt x="0" y="0"/>
                </a:lnTo>
                <a:close/>
              </a:path>
            </a:pathLst>
          </a:custGeom>
        </p:spPr>
        <p:txBody>
          <a:bodyPr anchor="ctr"/>
          <a:lstStyle>
            <a:lvl1pPr algn="ctr">
              <a:defRPr/>
            </a:lvl1pPr>
          </a:lstStyle>
          <a:p>
            <a:endParaRPr lang="en-US" dirty="0"/>
          </a:p>
        </p:txBody>
      </p:sp>
      <p:sp>
        <p:nvSpPr>
          <p:cNvPr id="13" name="Title 1"/>
          <p:cNvSpPr>
            <a:spLocks noGrp="1"/>
          </p:cNvSpPr>
          <p:nvPr>
            <p:ph type="ctrTitle"/>
          </p:nvPr>
        </p:nvSpPr>
        <p:spPr>
          <a:xfrm>
            <a:off x="601134" y="422275"/>
            <a:ext cx="8235951"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14" name="Text Placeholder 11"/>
          <p:cNvSpPr>
            <a:spLocks noGrp="1"/>
          </p:cNvSpPr>
          <p:nvPr>
            <p:ph type="body" sz="quarter" idx="12"/>
          </p:nvPr>
        </p:nvSpPr>
        <p:spPr>
          <a:xfrm>
            <a:off x="601133" y="800101"/>
            <a:ext cx="8235951"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16"/>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ap Stats Layout">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613833" y="5651501"/>
            <a:ext cx="2736851" cy="741363"/>
          </a:xfrm>
          <a:prstGeom prst="rect">
            <a:avLst/>
          </a:prstGeom>
        </p:spPr>
        <p:txBody>
          <a:bodyPr anchor="ctr"/>
          <a:lstStyle>
            <a:lvl1pPr algn="ctr">
              <a:buNone/>
              <a:defRPr b="0">
                <a:solidFill>
                  <a:schemeClr val="bg2"/>
                </a:solidFill>
              </a:defRPr>
            </a:lvl1pPr>
            <a:lvl2pPr algn="ctr">
              <a:buNone/>
              <a:defRPr b="0">
                <a:solidFill>
                  <a:schemeClr val="bg2"/>
                </a:solidFill>
              </a:defRPr>
            </a:lvl2pPr>
            <a:lvl3pPr algn="ctr">
              <a:buNone/>
              <a:defRPr b="0">
                <a:solidFill>
                  <a:schemeClr val="bg2"/>
                </a:solidFill>
              </a:defRPr>
            </a:lvl3pPr>
            <a:lvl4pPr algn="ctr">
              <a:buNone/>
              <a:defRPr b="0">
                <a:solidFill>
                  <a:schemeClr val="bg2"/>
                </a:solidFill>
              </a:defRPr>
            </a:lvl4pPr>
            <a:lvl5pPr algn="ctr">
              <a:buNone/>
              <a:defRPr b="0">
                <a:solidFill>
                  <a:schemeClr val="bg2"/>
                </a:solidFill>
              </a:defRPr>
            </a:lvl5pPr>
          </a:lstStyle>
          <a:p>
            <a:pPr lvl="0"/>
            <a:endParaRPr lang="en-US" dirty="0"/>
          </a:p>
        </p:txBody>
      </p:sp>
      <p:sp>
        <p:nvSpPr>
          <p:cNvPr id="8" name="Text Placeholder 6"/>
          <p:cNvSpPr>
            <a:spLocks noGrp="1"/>
          </p:cNvSpPr>
          <p:nvPr>
            <p:ph type="body" sz="quarter" idx="11"/>
          </p:nvPr>
        </p:nvSpPr>
        <p:spPr>
          <a:xfrm>
            <a:off x="3350684" y="5651501"/>
            <a:ext cx="2736851" cy="741363"/>
          </a:xfrm>
          <a:prstGeom prst="rect">
            <a:avLst/>
          </a:prstGeom>
        </p:spPr>
        <p:txBody>
          <a:bodyPr anchor="ctr"/>
          <a:lstStyle>
            <a:lvl1pPr algn="ctr">
              <a:buNone/>
              <a:defRPr b="0">
                <a:solidFill>
                  <a:schemeClr val="bg2"/>
                </a:solidFill>
              </a:defRPr>
            </a:lvl1pPr>
            <a:lvl2pPr algn="ctr">
              <a:buNone/>
              <a:defRPr b="0">
                <a:solidFill>
                  <a:schemeClr val="bg2"/>
                </a:solidFill>
              </a:defRPr>
            </a:lvl2pPr>
            <a:lvl3pPr algn="ctr">
              <a:buNone/>
              <a:defRPr b="0">
                <a:solidFill>
                  <a:schemeClr val="bg2"/>
                </a:solidFill>
              </a:defRPr>
            </a:lvl3pPr>
            <a:lvl4pPr algn="ctr">
              <a:buNone/>
              <a:defRPr b="0">
                <a:solidFill>
                  <a:schemeClr val="bg2"/>
                </a:solidFill>
              </a:defRPr>
            </a:lvl4pPr>
            <a:lvl5pPr algn="ctr">
              <a:buNone/>
              <a:defRPr b="0">
                <a:solidFill>
                  <a:schemeClr val="bg2"/>
                </a:solidFill>
              </a:defRPr>
            </a:lvl5pPr>
          </a:lstStyle>
          <a:p>
            <a:pPr lvl="0"/>
            <a:endParaRPr lang="en-US" dirty="0"/>
          </a:p>
        </p:txBody>
      </p:sp>
      <p:sp>
        <p:nvSpPr>
          <p:cNvPr id="9" name="Text Placeholder 6"/>
          <p:cNvSpPr>
            <a:spLocks noGrp="1"/>
          </p:cNvSpPr>
          <p:nvPr>
            <p:ph type="body" sz="quarter" idx="12"/>
          </p:nvPr>
        </p:nvSpPr>
        <p:spPr>
          <a:xfrm>
            <a:off x="6087535" y="5651501"/>
            <a:ext cx="2736851" cy="741363"/>
          </a:xfrm>
          <a:prstGeom prst="rect">
            <a:avLst/>
          </a:prstGeom>
        </p:spPr>
        <p:txBody>
          <a:bodyPr anchor="ctr"/>
          <a:lstStyle>
            <a:lvl1pPr algn="ctr">
              <a:buNone/>
              <a:defRPr b="0">
                <a:solidFill>
                  <a:schemeClr val="bg2"/>
                </a:solidFill>
              </a:defRPr>
            </a:lvl1pPr>
            <a:lvl2pPr algn="ctr">
              <a:buNone/>
              <a:defRPr b="0">
                <a:solidFill>
                  <a:schemeClr val="bg2"/>
                </a:solidFill>
              </a:defRPr>
            </a:lvl2pPr>
            <a:lvl3pPr algn="ctr">
              <a:buNone/>
              <a:defRPr b="0">
                <a:solidFill>
                  <a:schemeClr val="bg2"/>
                </a:solidFill>
              </a:defRPr>
            </a:lvl3pPr>
            <a:lvl4pPr algn="ctr">
              <a:buNone/>
              <a:defRPr b="0">
                <a:solidFill>
                  <a:schemeClr val="bg2"/>
                </a:solidFill>
              </a:defRPr>
            </a:lvl4pPr>
            <a:lvl5pPr algn="ctr">
              <a:buNone/>
              <a:defRPr b="0">
                <a:solidFill>
                  <a:schemeClr val="bg2"/>
                </a:solidFill>
              </a:defRPr>
            </a:lvl5pPr>
          </a:lstStyle>
          <a:p>
            <a:pPr lvl="0"/>
            <a:endParaRPr lang="en-US" dirty="0"/>
          </a:p>
        </p:txBody>
      </p:sp>
      <p:sp>
        <p:nvSpPr>
          <p:cNvPr id="10" name="Text Placeholder 6"/>
          <p:cNvSpPr>
            <a:spLocks noGrp="1"/>
          </p:cNvSpPr>
          <p:nvPr>
            <p:ph type="body" sz="quarter" idx="13"/>
          </p:nvPr>
        </p:nvSpPr>
        <p:spPr>
          <a:xfrm>
            <a:off x="8824385" y="5651501"/>
            <a:ext cx="2736851" cy="741363"/>
          </a:xfrm>
          <a:prstGeom prst="rect">
            <a:avLst/>
          </a:prstGeom>
        </p:spPr>
        <p:txBody>
          <a:bodyPr anchor="ctr"/>
          <a:lstStyle>
            <a:lvl1pPr algn="ctr">
              <a:buNone/>
              <a:defRPr b="0">
                <a:solidFill>
                  <a:schemeClr val="bg2"/>
                </a:solidFill>
              </a:defRPr>
            </a:lvl1pPr>
            <a:lvl2pPr algn="ctr">
              <a:buNone/>
              <a:defRPr b="0">
                <a:solidFill>
                  <a:schemeClr val="bg2"/>
                </a:solidFill>
              </a:defRPr>
            </a:lvl2pPr>
            <a:lvl3pPr algn="ctr">
              <a:buNone/>
              <a:defRPr b="0">
                <a:solidFill>
                  <a:schemeClr val="bg2"/>
                </a:solidFill>
              </a:defRPr>
            </a:lvl3pPr>
            <a:lvl4pPr algn="ctr">
              <a:buNone/>
              <a:defRPr b="0">
                <a:solidFill>
                  <a:schemeClr val="bg2"/>
                </a:solidFill>
              </a:defRPr>
            </a:lvl4pPr>
            <a:lvl5pPr algn="ctr">
              <a:buNone/>
              <a:defRPr b="0">
                <a:solidFill>
                  <a:schemeClr val="bg2"/>
                </a:solidFill>
              </a:defRPr>
            </a:lvl5pPr>
          </a:lstStyle>
          <a:p>
            <a:pPr lvl="0"/>
            <a:endParaRPr lang="en-US" dirty="0"/>
          </a:p>
        </p:txBody>
      </p:sp>
      <p:sp>
        <p:nvSpPr>
          <p:cNvPr id="11" name="Text Placeholder 6"/>
          <p:cNvSpPr>
            <a:spLocks noGrp="1"/>
          </p:cNvSpPr>
          <p:nvPr>
            <p:ph type="body" sz="quarter" idx="14"/>
          </p:nvPr>
        </p:nvSpPr>
        <p:spPr>
          <a:xfrm>
            <a:off x="613833" y="6392864"/>
            <a:ext cx="2736851" cy="238125"/>
          </a:xfrm>
          <a:prstGeom prst="rect">
            <a:avLst/>
          </a:prstGeom>
        </p:spPr>
        <p:txBody>
          <a:bodyPr anchor="ctr"/>
          <a:lstStyle>
            <a:lvl1pPr algn="ctr">
              <a:buNone/>
              <a:defRPr sz="1200" b="0">
                <a:solidFill>
                  <a:schemeClr val="bg2"/>
                </a:solidFill>
              </a:defRPr>
            </a:lvl1pPr>
            <a:lvl2pPr algn="ctr">
              <a:buNone/>
              <a:defRPr sz="1200" b="0">
                <a:solidFill>
                  <a:schemeClr val="bg2"/>
                </a:solidFill>
              </a:defRPr>
            </a:lvl2pPr>
            <a:lvl3pPr algn="ctr">
              <a:buNone/>
              <a:defRPr sz="1200" b="0">
                <a:solidFill>
                  <a:schemeClr val="bg2"/>
                </a:solidFill>
              </a:defRPr>
            </a:lvl3pPr>
            <a:lvl4pPr algn="ctr">
              <a:buNone/>
              <a:defRPr sz="1200" b="0">
                <a:solidFill>
                  <a:schemeClr val="bg2"/>
                </a:solidFill>
              </a:defRPr>
            </a:lvl4pPr>
            <a:lvl5pPr algn="ctr">
              <a:buNone/>
              <a:defRPr sz="1200" b="0">
                <a:solidFill>
                  <a:schemeClr val="bg2"/>
                </a:solidFill>
              </a:defRPr>
            </a:lvl5pPr>
          </a:lstStyle>
          <a:p>
            <a:pPr lvl="0"/>
            <a:endParaRPr lang="en-US" dirty="0"/>
          </a:p>
        </p:txBody>
      </p:sp>
      <p:sp>
        <p:nvSpPr>
          <p:cNvPr id="12" name="Text Placeholder 6"/>
          <p:cNvSpPr>
            <a:spLocks noGrp="1"/>
          </p:cNvSpPr>
          <p:nvPr>
            <p:ph type="body" sz="quarter" idx="15"/>
          </p:nvPr>
        </p:nvSpPr>
        <p:spPr>
          <a:xfrm>
            <a:off x="3350684" y="6392864"/>
            <a:ext cx="2736851" cy="238125"/>
          </a:xfrm>
          <a:prstGeom prst="rect">
            <a:avLst/>
          </a:prstGeom>
        </p:spPr>
        <p:txBody>
          <a:bodyPr anchor="ctr"/>
          <a:lstStyle>
            <a:lvl1pPr algn="ctr">
              <a:buNone/>
              <a:defRPr sz="1200" b="0">
                <a:solidFill>
                  <a:schemeClr val="bg2"/>
                </a:solidFill>
              </a:defRPr>
            </a:lvl1pPr>
            <a:lvl2pPr algn="ctr">
              <a:buNone/>
              <a:defRPr sz="1200" b="0">
                <a:solidFill>
                  <a:schemeClr val="bg2"/>
                </a:solidFill>
              </a:defRPr>
            </a:lvl2pPr>
            <a:lvl3pPr algn="ctr">
              <a:buNone/>
              <a:defRPr sz="1200" b="0">
                <a:solidFill>
                  <a:schemeClr val="bg2"/>
                </a:solidFill>
              </a:defRPr>
            </a:lvl3pPr>
            <a:lvl4pPr algn="ctr">
              <a:buNone/>
              <a:defRPr sz="1200" b="0">
                <a:solidFill>
                  <a:schemeClr val="bg2"/>
                </a:solidFill>
              </a:defRPr>
            </a:lvl4pPr>
            <a:lvl5pPr algn="ctr">
              <a:buNone/>
              <a:defRPr sz="1200" b="0">
                <a:solidFill>
                  <a:schemeClr val="bg2"/>
                </a:solidFill>
              </a:defRPr>
            </a:lvl5pPr>
          </a:lstStyle>
          <a:p>
            <a:pPr lvl="0"/>
            <a:endParaRPr lang="en-US" dirty="0"/>
          </a:p>
        </p:txBody>
      </p:sp>
      <p:sp>
        <p:nvSpPr>
          <p:cNvPr id="13" name="Text Placeholder 6"/>
          <p:cNvSpPr>
            <a:spLocks noGrp="1"/>
          </p:cNvSpPr>
          <p:nvPr>
            <p:ph type="body" sz="quarter" idx="16"/>
          </p:nvPr>
        </p:nvSpPr>
        <p:spPr>
          <a:xfrm>
            <a:off x="6087535" y="6392864"/>
            <a:ext cx="2736851" cy="238125"/>
          </a:xfrm>
          <a:prstGeom prst="rect">
            <a:avLst/>
          </a:prstGeom>
        </p:spPr>
        <p:txBody>
          <a:bodyPr anchor="ctr"/>
          <a:lstStyle>
            <a:lvl1pPr algn="ctr">
              <a:buNone/>
              <a:defRPr sz="1200" b="0">
                <a:solidFill>
                  <a:schemeClr val="bg2"/>
                </a:solidFill>
              </a:defRPr>
            </a:lvl1pPr>
            <a:lvl2pPr algn="ctr">
              <a:buNone/>
              <a:defRPr sz="1200" b="0">
                <a:solidFill>
                  <a:schemeClr val="bg2"/>
                </a:solidFill>
              </a:defRPr>
            </a:lvl2pPr>
            <a:lvl3pPr algn="ctr">
              <a:buNone/>
              <a:defRPr sz="1200" b="0">
                <a:solidFill>
                  <a:schemeClr val="bg2"/>
                </a:solidFill>
              </a:defRPr>
            </a:lvl3pPr>
            <a:lvl4pPr algn="ctr">
              <a:buNone/>
              <a:defRPr sz="1200" b="0">
                <a:solidFill>
                  <a:schemeClr val="bg2"/>
                </a:solidFill>
              </a:defRPr>
            </a:lvl4pPr>
            <a:lvl5pPr algn="ctr">
              <a:buNone/>
              <a:defRPr sz="1200" b="0">
                <a:solidFill>
                  <a:schemeClr val="bg2"/>
                </a:solidFill>
              </a:defRPr>
            </a:lvl5pPr>
          </a:lstStyle>
          <a:p>
            <a:pPr lvl="0"/>
            <a:endParaRPr lang="en-US" dirty="0"/>
          </a:p>
        </p:txBody>
      </p:sp>
      <p:sp>
        <p:nvSpPr>
          <p:cNvPr id="14" name="Text Placeholder 6"/>
          <p:cNvSpPr>
            <a:spLocks noGrp="1"/>
          </p:cNvSpPr>
          <p:nvPr>
            <p:ph type="body" sz="quarter" idx="17"/>
          </p:nvPr>
        </p:nvSpPr>
        <p:spPr>
          <a:xfrm>
            <a:off x="8824385" y="6392864"/>
            <a:ext cx="2736851" cy="238125"/>
          </a:xfrm>
          <a:prstGeom prst="rect">
            <a:avLst/>
          </a:prstGeom>
        </p:spPr>
        <p:txBody>
          <a:bodyPr anchor="ctr"/>
          <a:lstStyle>
            <a:lvl1pPr algn="ctr">
              <a:buNone/>
              <a:defRPr sz="1200" b="0">
                <a:solidFill>
                  <a:schemeClr val="bg2"/>
                </a:solidFill>
              </a:defRPr>
            </a:lvl1pPr>
            <a:lvl2pPr algn="ctr">
              <a:buNone/>
              <a:defRPr sz="1200" b="0">
                <a:solidFill>
                  <a:schemeClr val="bg2"/>
                </a:solidFill>
              </a:defRPr>
            </a:lvl2pPr>
            <a:lvl3pPr algn="ctr">
              <a:buNone/>
              <a:defRPr sz="1200" b="0">
                <a:solidFill>
                  <a:schemeClr val="bg2"/>
                </a:solidFill>
              </a:defRPr>
            </a:lvl3pPr>
            <a:lvl4pPr algn="ctr">
              <a:buNone/>
              <a:defRPr sz="1200" b="0">
                <a:solidFill>
                  <a:schemeClr val="bg2"/>
                </a:solidFill>
              </a:defRPr>
            </a:lvl4pPr>
            <a:lvl5pPr algn="ctr">
              <a:buNone/>
              <a:defRPr sz="1200" b="0">
                <a:solidFill>
                  <a:schemeClr val="bg2"/>
                </a:solidFill>
              </a:defRPr>
            </a:lvl5pPr>
          </a:lstStyle>
          <a:p>
            <a:pPr lvl="0"/>
            <a:endParaRPr lang="en-US" dirty="0"/>
          </a:p>
        </p:txBody>
      </p:sp>
      <p:sp>
        <p:nvSpPr>
          <p:cNvPr id="16" name="Title 1"/>
          <p:cNvSpPr>
            <a:spLocks noGrp="1"/>
          </p:cNvSpPr>
          <p:nvPr>
            <p:ph type="ctrTitle"/>
          </p:nvPr>
        </p:nvSpPr>
        <p:spPr>
          <a:xfrm>
            <a:off x="601134" y="422275"/>
            <a:ext cx="8235951"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18" name="Text Placeholder 11"/>
          <p:cNvSpPr>
            <a:spLocks noGrp="1"/>
          </p:cNvSpPr>
          <p:nvPr>
            <p:ph type="body" sz="quarter" idx="18"/>
          </p:nvPr>
        </p:nvSpPr>
        <p:spPr>
          <a:xfrm>
            <a:off x="601133" y="800101"/>
            <a:ext cx="8235951"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20"/>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 icon layout">
    <p:spTree>
      <p:nvGrpSpPr>
        <p:cNvPr id="1" name=""/>
        <p:cNvGrpSpPr/>
        <p:nvPr/>
      </p:nvGrpSpPr>
      <p:grpSpPr>
        <a:xfrm>
          <a:off x="0" y="0"/>
          <a:ext cx="0" cy="0"/>
          <a:chOff x="0" y="0"/>
          <a:chExt cx="0" cy="0"/>
        </a:xfrm>
      </p:grpSpPr>
      <p:sp>
        <p:nvSpPr>
          <p:cNvPr id="11" name="Text Placeholder 6"/>
          <p:cNvSpPr>
            <a:spLocks noGrp="1"/>
          </p:cNvSpPr>
          <p:nvPr>
            <p:ph type="body" sz="quarter" idx="14"/>
          </p:nvPr>
        </p:nvSpPr>
        <p:spPr>
          <a:xfrm>
            <a:off x="601132" y="2733675"/>
            <a:ext cx="2749552" cy="3659188"/>
          </a:xfrm>
          <a:prstGeom prst="rect">
            <a:avLst/>
          </a:prstGeom>
        </p:spPr>
        <p:txBody>
          <a:bodyPr lIns="0"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12" name="Text Placeholder 6"/>
          <p:cNvSpPr>
            <a:spLocks noGrp="1"/>
          </p:cNvSpPr>
          <p:nvPr>
            <p:ph type="body" sz="quarter" idx="15"/>
          </p:nvPr>
        </p:nvSpPr>
        <p:spPr>
          <a:xfrm>
            <a:off x="3350684" y="2733675"/>
            <a:ext cx="2736851" cy="3659188"/>
          </a:xfrm>
          <a:prstGeom prst="rect">
            <a:avLst/>
          </a:prstGeom>
        </p:spPr>
        <p:txBody>
          <a:bodyPr lIns="0"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13" name="Text Placeholder 6"/>
          <p:cNvSpPr>
            <a:spLocks noGrp="1"/>
          </p:cNvSpPr>
          <p:nvPr>
            <p:ph type="body" sz="quarter" idx="16"/>
          </p:nvPr>
        </p:nvSpPr>
        <p:spPr>
          <a:xfrm>
            <a:off x="6087535" y="2733675"/>
            <a:ext cx="2736851" cy="3659188"/>
          </a:xfrm>
          <a:prstGeom prst="rect">
            <a:avLst/>
          </a:prstGeom>
        </p:spPr>
        <p:txBody>
          <a:bodyPr lIns="0"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14" name="Text Placeholder 6"/>
          <p:cNvSpPr>
            <a:spLocks noGrp="1"/>
          </p:cNvSpPr>
          <p:nvPr>
            <p:ph type="body" sz="quarter" idx="17"/>
          </p:nvPr>
        </p:nvSpPr>
        <p:spPr>
          <a:xfrm>
            <a:off x="8824385" y="2733675"/>
            <a:ext cx="2736851" cy="3659188"/>
          </a:xfrm>
          <a:prstGeom prst="rect">
            <a:avLst/>
          </a:prstGeom>
        </p:spPr>
        <p:txBody>
          <a:bodyPr lIns="0"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15" name="Picture Placeholder 16"/>
          <p:cNvSpPr>
            <a:spLocks noGrp="1"/>
          </p:cNvSpPr>
          <p:nvPr>
            <p:ph type="pic" sz="quarter" idx="18" hasCustomPrompt="1"/>
          </p:nvPr>
        </p:nvSpPr>
        <p:spPr>
          <a:xfrm>
            <a:off x="565454" y="1944689"/>
            <a:ext cx="980017" cy="735013"/>
          </a:xfrm>
          <a:prstGeom prst="rect">
            <a:avLst/>
          </a:prstGeom>
        </p:spPr>
        <p:txBody>
          <a:bodyPr anchor="ctr"/>
          <a:lstStyle>
            <a:lvl1pPr marL="0" indent="0" algn="ctr">
              <a:buNone/>
              <a:defRPr sz="1600">
                <a:solidFill>
                  <a:schemeClr val="accent6"/>
                </a:solidFill>
              </a:defRPr>
            </a:lvl1pPr>
          </a:lstStyle>
          <a:p>
            <a:r>
              <a:rPr lang="en-US" dirty="0" smtClean="0"/>
              <a:t>icon</a:t>
            </a:r>
            <a:endParaRPr lang="en-US" dirty="0"/>
          </a:p>
        </p:txBody>
      </p:sp>
      <p:sp>
        <p:nvSpPr>
          <p:cNvPr id="16" name="Picture Placeholder 16"/>
          <p:cNvSpPr>
            <a:spLocks noGrp="1"/>
          </p:cNvSpPr>
          <p:nvPr>
            <p:ph type="pic" sz="quarter" idx="19" hasCustomPrompt="1"/>
          </p:nvPr>
        </p:nvSpPr>
        <p:spPr>
          <a:xfrm>
            <a:off x="8856437" y="1944689"/>
            <a:ext cx="980017" cy="735013"/>
          </a:xfrm>
          <a:prstGeom prst="rect">
            <a:avLst/>
          </a:prstGeom>
        </p:spPr>
        <p:txBody>
          <a:bodyPr anchor="ctr"/>
          <a:lstStyle>
            <a:lvl1pPr marL="0" indent="0" algn="ctr">
              <a:buNone/>
              <a:defRPr sz="1600">
                <a:solidFill>
                  <a:schemeClr val="accent6"/>
                </a:solidFill>
              </a:defRPr>
            </a:lvl1pPr>
          </a:lstStyle>
          <a:p>
            <a:r>
              <a:rPr lang="en-US" dirty="0" smtClean="0"/>
              <a:t>icon</a:t>
            </a:r>
            <a:endParaRPr lang="en-US" dirty="0"/>
          </a:p>
        </p:txBody>
      </p:sp>
      <p:sp>
        <p:nvSpPr>
          <p:cNvPr id="17" name="Picture Placeholder 16"/>
          <p:cNvSpPr>
            <a:spLocks noGrp="1"/>
          </p:cNvSpPr>
          <p:nvPr>
            <p:ph type="pic" sz="quarter" idx="20" hasCustomPrompt="1"/>
          </p:nvPr>
        </p:nvSpPr>
        <p:spPr>
          <a:xfrm>
            <a:off x="6092777" y="1944689"/>
            <a:ext cx="980017" cy="735013"/>
          </a:xfrm>
          <a:prstGeom prst="rect">
            <a:avLst/>
          </a:prstGeom>
        </p:spPr>
        <p:txBody>
          <a:bodyPr anchor="ctr"/>
          <a:lstStyle>
            <a:lvl1pPr marL="0" indent="0" algn="ctr">
              <a:buNone/>
              <a:defRPr sz="1600">
                <a:solidFill>
                  <a:schemeClr val="accent6"/>
                </a:solidFill>
              </a:defRPr>
            </a:lvl1pPr>
          </a:lstStyle>
          <a:p>
            <a:r>
              <a:rPr lang="en-US" dirty="0" smtClean="0"/>
              <a:t>icon</a:t>
            </a:r>
            <a:endParaRPr lang="en-US" dirty="0"/>
          </a:p>
        </p:txBody>
      </p:sp>
      <p:sp>
        <p:nvSpPr>
          <p:cNvPr id="18" name="Picture Placeholder 16"/>
          <p:cNvSpPr>
            <a:spLocks noGrp="1"/>
          </p:cNvSpPr>
          <p:nvPr>
            <p:ph type="pic" sz="quarter" idx="21" hasCustomPrompt="1"/>
          </p:nvPr>
        </p:nvSpPr>
        <p:spPr>
          <a:xfrm>
            <a:off x="3329116" y="1944689"/>
            <a:ext cx="980017" cy="735013"/>
          </a:xfrm>
          <a:prstGeom prst="rect">
            <a:avLst/>
          </a:prstGeom>
        </p:spPr>
        <p:txBody>
          <a:bodyPr anchor="ctr"/>
          <a:lstStyle>
            <a:lvl1pPr marL="0" indent="0" algn="ctr">
              <a:buNone/>
              <a:defRPr sz="1600">
                <a:solidFill>
                  <a:schemeClr val="accent6"/>
                </a:solidFill>
              </a:defRPr>
            </a:lvl1pPr>
          </a:lstStyle>
          <a:p>
            <a:r>
              <a:rPr lang="en-US" dirty="0" smtClean="0"/>
              <a:t>icon</a:t>
            </a:r>
            <a:endParaRPr lang="en-US" dirty="0"/>
          </a:p>
        </p:txBody>
      </p:sp>
      <p:sp>
        <p:nvSpPr>
          <p:cNvPr id="22" name="Title 1"/>
          <p:cNvSpPr>
            <a:spLocks noGrp="1"/>
          </p:cNvSpPr>
          <p:nvPr>
            <p:ph type="ctrTitle"/>
          </p:nvPr>
        </p:nvSpPr>
        <p:spPr>
          <a:xfrm>
            <a:off x="601134" y="422275"/>
            <a:ext cx="8235951"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23" name="Text Placeholder 11"/>
          <p:cNvSpPr>
            <a:spLocks noGrp="1"/>
          </p:cNvSpPr>
          <p:nvPr>
            <p:ph type="body" sz="quarter" idx="12"/>
          </p:nvPr>
        </p:nvSpPr>
        <p:spPr>
          <a:xfrm>
            <a:off x="601133" y="800101"/>
            <a:ext cx="8235951"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23"/>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Column picture layout">
    <p:spTree>
      <p:nvGrpSpPr>
        <p:cNvPr id="1" name=""/>
        <p:cNvGrpSpPr/>
        <p:nvPr/>
      </p:nvGrpSpPr>
      <p:grpSpPr>
        <a:xfrm>
          <a:off x="0" y="0"/>
          <a:ext cx="0" cy="0"/>
          <a:chOff x="0" y="0"/>
          <a:chExt cx="0" cy="0"/>
        </a:xfrm>
      </p:grpSpPr>
      <p:sp>
        <p:nvSpPr>
          <p:cNvPr id="11" name="Text Placeholder 6"/>
          <p:cNvSpPr>
            <a:spLocks noGrp="1"/>
          </p:cNvSpPr>
          <p:nvPr>
            <p:ph type="body" sz="quarter" idx="14"/>
          </p:nvPr>
        </p:nvSpPr>
        <p:spPr>
          <a:xfrm>
            <a:off x="774701" y="3427413"/>
            <a:ext cx="2412999" cy="2965450"/>
          </a:xfrm>
          <a:prstGeom prst="rect">
            <a:avLst/>
          </a:prstGeom>
        </p:spPr>
        <p:txBody>
          <a:bodyPr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15" name="Picture Placeholder 16"/>
          <p:cNvSpPr>
            <a:spLocks noGrp="1"/>
          </p:cNvSpPr>
          <p:nvPr>
            <p:ph type="pic" sz="quarter" idx="18" hasCustomPrompt="1"/>
          </p:nvPr>
        </p:nvSpPr>
        <p:spPr>
          <a:xfrm>
            <a:off x="774701" y="1944689"/>
            <a:ext cx="2412999" cy="1131887"/>
          </a:xfrm>
          <a:prstGeom prst="rect">
            <a:avLst/>
          </a:prstGeom>
        </p:spPr>
        <p:txBody>
          <a:bodyPr anchor="ctr"/>
          <a:lstStyle>
            <a:lvl1pPr marL="0" indent="0" algn="ctr">
              <a:buNone/>
              <a:defRPr sz="1600">
                <a:solidFill>
                  <a:schemeClr val="accent6"/>
                </a:solidFill>
              </a:defRPr>
            </a:lvl1pPr>
          </a:lstStyle>
          <a:p>
            <a:r>
              <a:rPr lang="en-US" dirty="0" smtClean="0"/>
              <a:t>icon</a:t>
            </a:r>
            <a:endParaRPr lang="en-US" dirty="0"/>
          </a:p>
        </p:txBody>
      </p:sp>
      <p:sp>
        <p:nvSpPr>
          <p:cNvPr id="19" name="Rectangle 18"/>
          <p:cNvSpPr/>
          <p:nvPr userDrawn="1"/>
        </p:nvSpPr>
        <p:spPr>
          <a:xfrm>
            <a:off x="774701" y="2686051"/>
            <a:ext cx="2412999" cy="390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Text Placeholder 6"/>
          <p:cNvSpPr>
            <a:spLocks noGrp="1"/>
          </p:cNvSpPr>
          <p:nvPr>
            <p:ph type="body" sz="quarter" idx="19"/>
          </p:nvPr>
        </p:nvSpPr>
        <p:spPr>
          <a:xfrm>
            <a:off x="3505202" y="3427413"/>
            <a:ext cx="2404532" cy="2965450"/>
          </a:xfrm>
          <a:prstGeom prst="rect">
            <a:avLst/>
          </a:prstGeom>
        </p:spPr>
        <p:txBody>
          <a:bodyPr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21" name="Picture Placeholder 16"/>
          <p:cNvSpPr>
            <a:spLocks noGrp="1"/>
          </p:cNvSpPr>
          <p:nvPr>
            <p:ph type="pic" sz="quarter" idx="20" hasCustomPrompt="1"/>
          </p:nvPr>
        </p:nvSpPr>
        <p:spPr>
          <a:xfrm>
            <a:off x="3505202" y="1944689"/>
            <a:ext cx="2412999" cy="1131887"/>
          </a:xfrm>
          <a:prstGeom prst="rect">
            <a:avLst/>
          </a:prstGeom>
        </p:spPr>
        <p:txBody>
          <a:bodyPr anchor="ctr"/>
          <a:lstStyle>
            <a:lvl1pPr marL="0" indent="0" algn="ctr">
              <a:buNone/>
              <a:defRPr sz="1600">
                <a:solidFill>
                  <a:schemeClr val="accent6"/>
                </a:solidFill>
              </a:defRPr>
            </a:lvl1pPr>
          </a:lstStyle>
          <a:p>
            <a:r>
              <a:rPr lang="en-US" dirty="0" smtClean="0"/>
              <a:t>icon</a:t>
            </a:r>
            <a:endParaRPr lang="en-US" dirty="0"/>
          </a:p>
        </p:txBody>
      </p:sp>
      <p:sp>
        <p:nvSpPr>
          <p:cNvPr id="22" name="Rectangle 21"/>
          <p:cNvSpPr/>
          <p:nvPr userDrawn="1"/>
        </p:nvSpPr>
        <p:spPr>
          <a:xfrm>
            <a:off x="3505202" y="2686051"/>
            <a:ext cx="2412999" cy="390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Text Placeholder 6"/>
          <p:cNvSpPr>
            <a:spLocks noGrp="1"/>
          </p:cNvSpPr>
          <p:nvPr>
            <p:ph type="body" sz="quarter" idx="21"/>
          </p:nvPr>
        </p:nvSpPr>
        <p:spPr>
          <a:xfrm>
            <a:off x="6261102" y="3427413"/>
            <a:ext cx="2412999" cy="2965450"/>
          </a:xfrm>
          <a:prstGeom prst="rect">
            <a:avLst/>
          </a:prstGeom>
        </p:spPr>
        <p:txBody>
          <a:bodyPr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24" name="Picture Placeholder 16"/>
          <p:cNvSpPr>
            <a:spLocks noGrp="1"/>
          </p:cNvSpPr>
          <p:nvPr>
            <p:ph type="pic" sz="quarter" idx="22" hasCustomPrompt="1"/>
          </p:nvPr>
        </p:nvSpPr>
        <p:spPr>
          <a:xfrm>
            <a:off x="6261102" y="1944689"/>
            <a:ext cx="2412999" cy="1131887"/>
          </a:xfrm>
          <a:prstGeom prst="rect">
            <a:avLst/>
          </a:prstGeom>
        </p:spPr>
        <p:txBody>
          <a:bodyPr anchor="ctr"/>
          <a:lstStyle>
            <a:lvl1pPr marL="0" indent="0" algn="ctr">
              <a:buNone/>
              <a:defRPr sz="1600">
                <a:solidFill>
                  <a:schemeClr val="accent6"/>
                </a:solidFill>
              </a:defRPr>
            </a:lvl1pPr>
          </a:lstStyle>
          <a:p>
            <a:r>
              <a:rPr lang="en-US" dirty="0" smtClean="0"/>
              <a:t>icon</a:t>
            </a:r>
            <a:endParaRPr lang="en-US" dirty="0"/>
          </a:p>
        </p:txBody>
      </p:sp>
      <p:sp>
        <p:nvSpPr>
          <p:cNvPr id="25" name="Rectangle 24"/>
          <p:cNvSpPr/>
          <p:nvPr userDrawn="1"/>
        </p:nvSpPr>
        <p:spPr>
          <a:xfrm>
            <a:off x="6261102" y="2686051"/>
            <a:ext cx="2412999" cy="390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6" name="Text Placeholder 6"/>
          <p:cNvSpPr>
            <a:spLocks noGrp="1"/>
          </p:cNvSpPr>
          <p:nvPr>
            <p:ph type="body" sz="quarter" idx="23"/>
          </p:nvPr>
        </p:nvSpPr>
        <p:spPr>
          <a:xfrm>
            <a:off x="8991602" y="3427413"/>
            <a:ext cx="2412999" cy="2965450"/>
          </a:xfrm>
          <a:prstGeom prst="rect">
            <a:avLst/>
          </a:prstGeom>
        </p:spPr>
        <p:txBody>
          <a:bodyPr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27" name="Picture Placeholder 16"/>
          <p:cNvSpPr>
            <a:spLocks noGrp="1"/>
          </p:cNvSpPr>
          <p:nvPr>
            <p:ph type="pic" sz="quarter" idx="24" hasCustomPrompt="1"/>
          </p:nvPr>
        </p:nvSpPr>
        <p:spPr>
          <a:xfrm>
            <a:off x="8991602" y="1944689"/>
            <a:ext cx="2412999" cy="1131887"/>
          </a:xfrm>
          <a:prstGeom prst="rect">
            <a:avLst/>
          </a:prstGeom>
        </p:spPr>
        <p:txBody>
          <a:bodyPr anchor="ctr"/>
          <a:lstStyle>
            <a:lvl1pPr marL="0" indent="0" algn="ctr">
              <a:buNone/>
              <a:defRPr sz="1600">
                <a:solidFill>
                  <a:schemeClr val="accent6"/>
                </a:solidFill>
              </a:defRPr>
            </a:lvl1pPr>
          </a:lstStyle>
          <a:p>
            <a:r>
              <a:rPr lang="en-US" dirty="0" smtClean="0"/>
              <a:t>icon</a:t>
            </a:r>
            <a:endParaRPr lang="en-US" dirty="0"/>
          </a:p>
        </p:txBody>
      </p:sp>
      <p:sp>
        <p:nvSpPr>
          <p:cNvPr id="28" name="Rectangle 27"/>
          <p:cNvSpPr/>
          <p:nvPr userDrawn="1"/>
        </p:nvSpPr>
        <p:spPr>
          <a:xfrm>
            <a:off x="8991602" y="2686051"/>
            <a:ext cx="2412999" cy="390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Title 1"/>
          <p:cNvSpPr>
            <a:spLocks noGrp="1"/>
          </p:cNvSpPr>
          <p:nvPr>
            <p:ph type="ctrTitle"/>
          </p:nvPr>
        </p:nvSpPr>
        <p:spPr>
          <a:xfrm>
            <a:off x="601134" y="422275"/>
            <a:ext cx="8235951"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29" name="Text Placeholder 11"/>
          <p:cNvSpPr>
            <a:spLocks noGrp="1"/>
          </p:cNvSpPr>
          <p:nvPr>
            <p:ph type="body" sz="quarter" idx="12"/>
          </p:nvPr>
        </p:nvSpPr>
        <p:spPr>
          <a:xfrm>
            <a:off x="601133" y="800101"/>
            <a:ext cx="8235951"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26"/>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Infographic layout">
    <p:spTree>
      <p:nvGrpSpPr>
        <p:cNvPr id="1" name=""/>
        <p:cNvGrpSpPr/>
        <p:nvPr/>
      </p:nvGrpSpPr>
      <p:grpSpPr>
        <a:xfrm>
          <a:off x="0" y="0"/>
          <a:ext cx="0" cy="0"/>
          <a:chOff x="0" y="0"/>
          <a:chExt cx="0" cy="0"/>
        </a:xfrm>
      </p:grpSpPr>
      <p:sp>
        <p:nvSpPr>
          <p:cNvPr id="5" name="Chart Placeholder 4"/>
          <p:cNvSpPr>
            <a:spLocks noGrp="1"/>
          </p:cNvSpPr>
          <p:nvPr>
            <p:ph type="chart" sz="quarter" idx="10"/>
          </p:nvPr>
        </p:nvSpPr>
        <p:spPr>
          <a:xfrm>
            <a:off x="6278033" y="1944689"/>
            <a:ext cx="5283200" cy="3706813"/>
          </a:xfrm>
          <a:prstGeom prst="rect">
            <a:avLst/>
          </a:prstGeom>
        </p:spPr>
        <p:txBody>
          <a:bodyPr anchor="ctr"/>
          <a:lstStyle>
            <a:lvl1pPr algn="ctr">
              <a:buNone/>
              <a:defRPr sz="1800">
                <a:solidFill>
                  <a:schemeClr val="bg2"/>
                </a:solidFill>
              </a:defRPr>
            </a:lvl1pPr>
          </a:lstStyle>
          <a:p>
            <a:endParaRPr lang="en-US"/>
          </a:p>
        </p:txBody>
      </p:sp>
      <p:sp>
        <p:nvSpPr>
          <p:cNvPr id="6" name="Text Placeholder 9"/>
          <p:cNvSpPr>
            <a:spLocks noGrp="1"/>
          </p:cNvSpPr>
          <p:nvPr>
            <p:ph type="body" sz="quarter" idx="11"/>
          </p:nvPr>
        </p:nvSpPr>
        <p:spPr>
          <a:xfrm>
            <a:off x="601133" y="1944688"/>
            <a:ext cx="5308601" cy="4448175"/>
          </a:xfrm>
          <a:prstGeom prst="rect">
            <a:avLst/>
          </a:prstGeom>
        </p:spPr>
        <p:txBody>
          <a:bodyPr lIns="0" tIns="0" rIns="0" bIns="0"/>
          <a:lstStyle>
            <a:lvl1pPr marL="228600" indent="-228600">
              <a:buNone/>
              <a:defRPr sz="1600">
                <a:solidFill>
                  <a:schemeClr val="tx1"/>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8" name="Text Placeholder 7"/>
          <p:cNvSpPr>
            <a:spLocks noGrp="1"/>
          </p:cNvSpPr>
          <p:nvPr>
            <p:ph type="body" sz="quarter" idx="12"/>
          </p:nvPr>
        </p:nvSpPr>
        <p:spPr>
          <a:xfrm>
            <a:off x="6278033" y="1944688"/>
            <a:ext cx="5283200" cy="419100"/>
          </a:xfrm>
          <a:prstGeom prst="rect">
            <a:avLst/>
          </a:prstGeom>
        </p:spPr>
        <p:txBody>
          <a:bodyPr/>
          <a:lstStyle>
            <a:lvl1pPr>
              <a:buNone/>
              <a:defRPr sz="1600">
                <a:solidFill>
                  <a:schemeClr val="tx1"/>
                </a:solidFill>
              </a:defRPr>
            </a:lvl1pPr>
            <a:lvl2pPr>
              <a:buNone/>
              <a:defRPr sz="1600">
                <a:solidFill>
                  <a:schemeClr val="tx2"/>
                </a:solidFill>
              </a:defRPr>
            </a:lvl2pPr>
            <a:lvl3pPr>
              <a:buNone/>
              <a:defRPr sz="1600">
                <a:solidFill>
                  <a:schemeClr val="tx2"/>
                </a:solidFill>
              </a:defRPr>
            </a:lvl3pPr>
            <a:lvl4pPr>
              <a:buNone/>
              <a:defRPr sz="1600">
                <a:solidFill>
                  <a:schemeClr val="tx2"/>
                </a:solidFill>
              </a:defRPr>
            </a:lvl4pPr>
            <a:lvl5pPr>
              <a:buNone/>
              <a:defRPr sz="1600">
                <a:solidFill>
                  <a:schemeClr val="tx2"/>
                </a:solidFill>
              </a:defRPr>
            </a:lvl5pPr>
          </a:lstStyle>
          <a:p>
            <a:pPr lvl="0"/>
            <a:endParaRPr lang="en-US" dirty="0"/>
          </a:p>
        </p:txBody>
      </p:sp>
      <p:sp>
        <p:nvSpPr>
          <p:cNvPr id="9" name="Title 1"/>
          <p:cNvSpPr>
            <a:spLocks noGrp="1"/>
          </p:cNvSpPr>
          <p:nvPr>
            <p:ph type="ctrTitle"/>
          </p:nvPr>
        </p:nvSpPr>
        <p:spPr>
          <a:xfrm>
            <a:off x="601134" y="422275"/>
            <a:ext cx="8235951"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11" name="Text Placeholder 11"/>
          <p:cNvSpPr>
            <a:spLocks noGrp="1"/>
          </p:cNvSpPr>
          <p:nvPr>
            <p:ph type="body" sz="quarter" idx="13"/>
          </p:nvPr>
        </p:nvSpPr>
        <p:spPr>
          <a:xfrm>
            <a:off x="601133" y="800101"/>
            <a:ext cx="8235951"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4" name="Slide Number Placeholder 3"/>
          <p:cNvSpPr>
            <a:spLocks noGrp="1"/>
          </p:cNvSpPr>
          <p:nvPr>
            <p:ph type="sldNum" sz="quarter" idx="15"/>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Infographic layout">
    <p:spTree>
      <p:nvGrpSpPr>
        <p:cNvPr id="1" name=""/>
        <p:cNvGrpSpPr/>
        <p:nvPr/>
      </p:nvGrpSpPr>
      <p:grpSpPr>
        <a:xfrm>
          <a:off x="0" y="0"/>
          <a:ext cx="0" cy="0"/>
          <a:chOff x="0" y="0"/>
          <a:chExt cx="0" cy="0"/>
        </a:xfrm>
      </p:grpSpPr>
      <p:sp>
        <p:nvSpPr>
          <p:cNvPr id="5" name="Chart Placeholder 4"/>
          <p:cNvSpPr>
            <a:spLocks noGrp="1"/>
          </p:cNvSpPr>
          <p:nvPr>
            <p:ph type="chart" sz="quarter" idx="10"/>
          </p:nvPr>
        </p:nvSpPr>
        <p:spPr>
          <a:xfrm>
            <a:off x="6256865" y="3954463"/>
            <a:ext cx="5329768" cy="2438400"/>
          </a:xfrm>
          <a:prstGeom prst="rect">
            <a:avLst/>
          </a:prstGeom>
        </p:spPr>
        <p:txBody>
          <a:bodyPr anchor="ctr"/>
          <a:lstStyle>
            <a:lvl1pPr algn="ctr">
              <a:buNone/>
              <a:defRPr sz="1800">
                <a:solidFill>
                  <a:schemeClr val="bg2"/>
                </a:solidFill>
              </a:defRPr>
            </a:lvl1pPr>
          </a:lstStyle>
          <a:p>
            <a:endParaRPr lang="en-US" dirty="0"/>
          </a:p>
        </p:txBody>
      </p:sp>
      <p:sp>
        <p:nvSpPr>
          <p:cNvPr id="6" name="Text Placeholder 9"/>
          <p:cNvSpPr>
            <a:spLocks noGrp="1"/>
          </p:cNvSpPr>
          <p:nvPr>
            <p:ph type="body" sz="quarter" idx="11"/>
          </p:nvPr>
        </p:nvSpPr>
        <p:spPr>
          <a:xfrm>
            <a:off x="601133" y="1944688"/>
            <a:ext cx="5308600" cy="1482726"/>
          </a:xfrm>
          <a:prstGeom prst="rect">
            <a:avLst/>
          </a:prstGeom>
        </p:spPr>
        <p:txBody>
          <a:bodyPr lIns="0" tIns="0" rIns="0" bIns="0"/>
          <a:lstStyle>
            <a:lvl1pPr marL="228600" indent="-228600">
              <a:buNone/>
              <a:defRPr sz="1600">
                <a:solidFill>
                  <a:schemeClr val="tx1"/>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8" name="Text Placeholder 7"/>
          <p:cNvSpPr>
            <a:spLocks noGrp="1"/>
          </p:cNvSpPr>
          <p:nvPr>
            <p:ph type="body" sz="quarter" idx="12"/>
          </p:nvPr>
        </p:nvSpPr>
        <p:spPr>
          <a:xfrm>
            <a:off x="6256867" y="3570288"/>
            <a:ext cx="5329767" cy="384175"/>
          </a:xfrm>
          <a:prstGeom prst="rect">
            <a:avLst/>
          </a:prstGeom>
        </p:spPr>
        <p:txBody>
          <a:bodyPr/>
          <a:lstStyle>
            <a:lvl1pPr>
              <a:buNone/>
              <a:defRPr sz="1600">
                <a:solidFill>
                  <a:schemeClr val="tx1"/>
                </a:solidFill>
              </a:defRPr>
            </a:lvl1pPr>
            <a:lvl2pPr>
              <a:buNone/>
              <a:defRPr sz="1600">
                <a:solidFill>
                  <a:schemeClr val="tx2"/>
                </a:solidFill>
              </a:defRPr>
            </a:lvl2pPr>
            <a:lvl3pPr>
              <a:buNone/>
              <a:defRPr sz="1600">
                <a:solidFill>
                  <a:schemeClr val="tx2"/>
                </a:solidFill>
              </a:defRPr>
            </a:lvl3pPr>
            <a:lvl4pPr>
              <a:buNone/>
              <a:defRPr sz="1600">
                <a:solidFill>
                  <a:schemeClr val="tx2"/>
                </a:solidFill>
              </a:defRPr>
            </a:lvl4pPr>
            <a:lvl5pPr>
              <a:buNone/>
              <a:defRPr sz="1600">
                <a:solidFill>
                  <a:schemeClr val="tx2"/>
                </a:solidFill>
              </a:defRPr>
            </a:lvl5pPr>
          </a:lstStyle>
          <a:p>
            <a:pPr lvl="0"/>
            <a:endParaRPr lang="en-US" dirty="0"/>
          </a:p>
        </p:txBody>
      </p:sp>
      <p:sp>
        <p:nvSpPr>
          <p:cNvPr id="9" name="Chart Placeholder 4"/>
          <p:cNvSpPr>
            <a:spLocks noGrp="1"/>
          </p:cNvSpPr>
          <p:nvPr>
            <p:ph type="chart" sz="quarter" idx="14"/>
          </p:nvPr>
        </p:nvSpPr>
        <p:spPr>
          <a:xfrm>
            <a:off x="601133" y="3954463"/>
            <a:ext cx="5308601" cy="2438400"/>
          </a:xfrm>
          <a:prstGeom prst="rect">
            <a:avLst/>
          </a:prstGeom>
        </p:spPr>
        <p:txBody>
          <a:bodyPr anchor="ctr"/>
          <a:lstStyle>
            <a:lvl1pPr algn="ctr">
              <a:buNone/>
              <a:defRPr sz="1800">
                <a:solidFill>
                  <a:schemeClr val="bg2"/>
                </a:solidFill>
              </a:defRPr>
            </a:lvl1pPr>
          </a:lstStyle>
          <a:p>
            <a:endParaRPr lang="en-US" dirty="0"/>
          </a:p>
        </p:txBody>
      </p:sp>
      <p:sp>
        <p:nvSpPr>
          <p:cNvPr id="11" name="Text Placeholder 7"/>
          <p:cNvSpPr>
            <a:spLocks noGrp="1"/>
          </p:cNvSpPr>
          <p:nvPr>
            <p:ph type="body" sz="quarter" idx="15"/>
          </p:nvPr>
        </p:nvSpPr>
        <p:spPr>
          <a:xfrm>
            <a:off x="601132" y="3570288"/>
            <a:ext cx="5308603" cy="384175"/>
          </a:xfrm>
          <a:prstGeom prst="rect">
            <a:avLst/>
          </a:prstGeom>
        </p:spPr>
        <p:txBody>
          <a:bodyPr/>
          <a:lstStyle>
            <a:lvl1pPr>
              <a:buNone/>
              <a:defRPr sz="1600">
                <a:solidFill>
                  <a:schemeClr val="tx1"/>
                </a:solidFill>
              </a:defRPr>
            </a:lvl1pPr>
            <a:lvl2pPr>
              <a:buNone/>
              <a:defRPr sz="1600">
                <a:solidFill>
                  <a:schemeClr val="tx2"/>
                </a:solidFill>
              </a:defRPr>
            </a:lvl2pPr>
            <a:lvl3pPr>
              <a:buNone/>
              <a:defRPr sz="1600">
                <a:solidFill>
                  <a:schemeClr val="tx2"/>
                </a:solidFill>
              </a:defRPr>
            </a:lvl3pPr>
            <a:lvl4pPr>
              <a:buNone/>
              <a:defRPr sz="1600">
                <a:solidFill>
                  <a:schemeClr val="tx2"/>
                </a:solidFill>
              </a:defRPr>
            </a:lvl4pPr>
            <a:lvl5pPr>
              <a:buNone/>
              <a:defRPr sz="1600">
                <a:solidFill>
                  <a:schemeClr val="tx2"/>
                </a:solidFill>
              </a:defRPr>
            </a:lvl5pPr>
          </a:lstStyle>
          <a:p>
            <a:pPr lvl="0"/>
            <a:endParaRPr lang="en-US" dirty="0"/>
          </a:p>
        </p:txBody>
      </p:sp>
      <p:sp>
        <p:nvSpPr>
          <p:cNvPr id="12" name="Text Placeholder 9"/>
          <p:cNvSpPr>
            <a:spLocks noGrp="1"/>
          </p:cNvSpPr>
          <p:nvPr>
            <p:ph type="body" sz="quarter" idx="16"/>
          </p:nvPr>
        </p:nvSpPr>
        <p:spPr>
          <a:xfrm>
            <a:off x="6256867" y="1944688"/>
            <a:ext cx="5329767" cy="1482726"/>
          </a:xfrm>
          <a:prstGeom prst="rect">
            <a:avLst/>
          </a:prstGeom>
        </p:spPr>
        <p:txBody>
          <a:bodyPr lIns="0" tIns="0" rIns="0" bIns="0"/>
          <a:lstStyle>
            <a:lvl1pPr marL="228600" indent="-228600">
              <a:buNone/>
              <a:defRPr sz="1600">
                <a:solidFill>
                  <a:schemeClr val="tx1"/>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13" name="Title 1"/>
          <p:cNvSpPr>
            <a:spLocks noGrp="1"/>
          </p:cNvSpPr>
          <p:nvPr>
            <p:ph type="ctrTitle"/>
          </p:nvPr>
        </p:nvSpPr>
        <p:spPr>
          <a:xfrm>
            <a:off x="601134" y="422275"/>
            <a:ext cx="8235951"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14" name="Text Placeholder 11"/>
          <p:cNvSpPr>
            <a:spLocks noGrp="1"/>
          </p:cNvSpPr>
          <p:nvPr>
            <p:ph type="body" sz="quarter" idx="17"/>
          </p:nvPr>
        </p:nvSpPr>
        <p:spPr>
          <a:xfrm>
            <a:off x="601133" y="800101"/>
            <a:ext cx="8235951"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4" name="Slide Number Placeholder 3"/>
          <p:cNvSpPr>
            <a:spLocks noGrp="1"/>
          </p:cNvSpPr>
          <p:nvPr>
            <p:ph type="sldNum" sz="quarter" idx="19"/>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4 Column icon layout">
    <p:spTree>
      <p:nvGrpSpPr>
        <p:cNvPr id="1" name=""/>
        <p:cNvGrpSpPr/>
        <p:nvPr/>
      </p:nvGrpSpPr>
      <p:grpSpPr>
        <a:xfrm>
          <a:off x="0" y="0"/>
          <a:ext cx="0" cy="0"/>
          <a:chOff x="0" y="0"/>
          <a:chExt cx="0" cy="0"/>
        </a:xfrm>
      </p:grpSpPr>
      <p:sp>
        <p:nvSpPr>
          <p:cNvPr id="15" name="Picture Placeholder 16"/>
          <p:cNvSpPr>
            <a:spLocks noGrp="1"/>
          </p:cNvSpPr>
          <p:nvPr>
            <p:ph type="pic" sz="quarter" idx="18" hasCustomPrompt="1"/>
          </p:nvPr>
        </p:nvSpPr>
        <p:spPr>
          <a:xfrm>
            <a:off x="774700" y="1495426"/>
            <a:ext cx="1168400" cy="1069977"/>
          </a:xfrm>
          <a:prstGeom prst="rect">
            <a:avLst/>
          </a:prstGeom>
        </p:spPr>
        <p:txBody>
          <a:bodyPr anchor="ctr"/>
          <a:lstStyle>
            <a:lvl1pPr marL="0" indent="0" algn="ctr">
              <a:buNone/>
              <a:defRPr sz="1400">
                <a:solidFill>
                  <a:schemeClr val="accent6"/>
                </a:solidFill>
              </a:defRPr>
            </a:lvl1pPr>
          </a:lstStyle>
          <a:p>
            <a:r>
              <a:rPr lang="en-US" dirty="0" smtClean="0"/>
              <a:t>icon</a:t>
            </a:r>
            <a:endParaRPr lang="en-US" dirty="0"/>
          </a:p>
        </p:txBody>
      </p:sp>
      <p:sp>
        <p:nvSpPr>
          <p:cNvPr id="16" name="Picture Placeholder 16"/>
          <p:cNvSpPr>
            <a:spLocks noGrp="1"/>
          </p:cNvSpPr>
          <p:nvPr>
            <p:ph type="pic" sz="quarter" idx="19" hasCustomPrompt="1"/>
          </p:nvPr>
        </p:nvSpPr>
        <p:spPr>
          <a:xfrm>
            <a:off x="9024761" y="1495426"/>
            <a:ext cx="1168400" cy="1069977"/>
          </a:xfrm>
          <a:prstGeom prst="rect">
            <a:avLst/>
          </a:prstGeom>
        </p:spPr>
        <p:txBody>
          <a:bodyPr anchor="ctr"/>
          <a:lstStyle>
            <a:lvl1pPr marL="0" indent="0" algn="ctr">
              <a:buNone/>
              <a:defRPr sz="1400">
                <a:solidFill>
                  <a:schemeClr val="accent6"/>
                </a:solidFill>
              </a:defRPr>
            </a:lvl1pPr>
          </a:lstStyle>
          <a:p>
            <a:r>
              <a:rPr lang="en-US" dirty="0" smtClean="0"/>
              <a:t>icon</a:t>
            </a:r>
            <a:endParaRPr lang="en-US" dirty="0"/>
          </a:p>
        </p:txBody>
      </p:sp>
      <p:sp>
        <p:nvSpPr>
          <p:cNvPr id="17" name="Picture Placeholder 16"/>
          <p:cNvSpPr>
            <a:spLocks noGrp="1"/>
          </p:cNvSpPr>
          <p:nvPr>
            <p:ph type="pic" sz="quarter" idx="20" hasCustomPrompt="1"/>
          </p:nvPr>
        </p:nvSpPr>
        <p:spPr>
          <a:xfrm>
            <a:off x="6261101" y="1495426"/>
            <a:ext cx="1168400" cy="1069977"/>
          </a:xfrm>
          <a:prstGeom prst="rect">
            <a:avLst/>
          </a:prstGeom>
        </p:spPr>
        <p:txBody>
          <a:bodyPr anchor="ctr"/>
          <a:lstStyle>
            <a:lvl1pPr marL="0" indent="0" algn="ctr">
              <a:buNone/>
              <a:defRPr sz="1400">
                <a:solidFill>
                  <a:schemeClr val="accent6"/>
                </a:solidFill>
              </a:defRPr>
            </a:lvl1pPr>
          </a:lstStyle>
          <a:p>
            <a:r>
              <a:rPr lang="en-US" dirty="0" smtClean="0"/>
              <a:t>icon</a:t>
            </a:r>
            <a:endParaRPr lang="en-US" dirty="0"/>
          </a:p>
        </p:txBody>
      </p:sp>
      <p:sp>
        <p:nvSpPr>
          <p:cNvPr id="18" name="Picture Placeholder 16"/>
          <p:cNvSpPr>
            <a:spLocks noGrp="1"/>
          </p:cNvSpPr>
          <p:nvPr>
            <p:ph type="pic" sz="quarter" idx="21" hasCustomPrompt="1"/>
          </p:nvPr>
        </p:nvSpPr>
        <p:spPr>
          <a:xfrm>
            <a:off x="3497440" y="1495426"/>
            <a:ext cx="1168400" cy="1069977"/>
          </a:xfrm>
          <a:prstGeom prst="rect">
            <a:avLst/>
          </a:prstGeom>
        </p:spPr>
        <p:txBody>
          <a:bodyPr anchor="ctr"/>
          <a:lstStyle>
            <a:lvl1pPr marL="0" indent="0" algn="ctr">
              <a:buNone/>
              <a:defRPr sz="1400">
                <a:solidFill>
                  <a:schemeClr val="accent6"/>
                </a:solidFill>
              </a:defRPr>
            </a:lvl1pPr>
          </a:lstStyle>
          <a:p>
            <a:r>
              <a:rPr lang="en-US" dirty="0" smtClean="0"/>
              <a:t>icon</a:t>
            </a:r>
            <a:endParaRPr lang="en-US" dirty="0"/>
          </a:p>
        </p:txBody>
      </p:sp>
      <p:sp>
        <p:nvSpPr>
          <p:cNvPr id="19" name="Text Placeholder 6"/>
          <p:cNvSpPr>
            <a:spLocks noGrp="1"/>
          </p:cNvSpPr>
          <p:nvPr>
            <p:ph type="body" sz="quarter" idx="14"/>
          </p:nvPr>
        </p:nvSpPr>
        <p:spPr>
          <a:xfrm>
            <a:off x="774701" y="2679703"/>
            <a:ext cx="2412999" cy="3713161"/>
          </a:xfrm>
          <a:prstGeom prst="rect">
            <a:avLst/>
          </a:prstGeom>
        </p:spPr>
        <p:txBody>
          <a:bodyPr lIns="0" tIns="0" rIns="0" bIns="0"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21" name="Text Placeholder 6"/>
          <p:cNvSpPr>
            <a:spLocks noGrp="1"/>
          </p:cNvSpPr>
          <p:nvPr>
            <p:ph type="body" sz="quarter" idx="22"/>
          </p:nvPr>
        </p:nvSpPr>
        <p:spPr>
          <a:xfrm>
            <a:off x="3505202" y="2679703"/>
            <a:ext cx="2404532" cy="3713161"/>
          </a:xfrm>
          <a:prstGeom prst="rect">
            <a:avLst/>
          </a:prstGeom>
        </p:spPr>
        <p:txBody>
          <a:bodyPr lIns="0" tIns="0" rIns="0" bIns="0"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22" name="Text Placeholder 6"/>
          <p:cNvSpPr>
            <a:spLocks noGrp="1"/>
          </p:cNvSpPr>
          <p:nvPr>
            <p:ph type="body" sz="quarter" idx="23"/>
          </p:nvPr>
        </p:nvSpPr>
        <p:spPr>
          <a:xfrm>
            <a:off x="6261102" y="2679703"/>
            <a:ext cx="2412999" cy="3713161"/>
          </a:xfrm>
          <a:prstGeom prst="rect">
            <a:avLst/>
          </a:prstGeom>
        </p:spPr>
        <p:txBody>
          <a:bodyPr lIns="0" tIns="0" rIns="0" bIns="0"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23" name="Text Placeholder 6"/>
          <p:cNvSpPr>
            <a:spLocks noGrp="1"/>
          </p:cNvSpPr>
          <p:nvPr>
            <p:ph type="body" sz="quarter" idx="24"/>
          </p:nvPr>
        </p:nvSpPr>
        <p:spPr>
          <a:xfrm>
            <a:off x="8991602" y="2679703"/>
            <a:ext cx="2412999" cy="3713161"/>
          </a:xfrm>
          <a:prstGeom prst="rect">
            <a:avLst/>
          </a:prstGeom>
        </p:spPr>
        <p:txBody>
          <a:bodyPr lIns="0" tIns="0" rIns="0" bIns="0" anchor="t"/>
          <a:lstStyle>
            <a:lvl1pPr algn="l">
              <a:buNone/>
              <a:defRPr sz="1200" b="0">
                <a:solidFill>
                  <a:schemeClr val="tx1"/>
                </a:solidFill>
              </a:defRPr>
            </a:lvl1pPr>
            <a:lvl2pPr algn="l">
              <a:buNone/>
              <a:defRPr sz="1200" b="0">
                <a:solidFill>
                  <a:schemeClr val="tx2"/>
                </a:solidFill>
              </a:defRPr>
            </a:lvl2pPr>
            <a:lvl3pPr algn="l">
              <a:buNone/>
              <a:defRPr sz="1200" b="0">
                <a:solidFill>
                  <a:schemeClr val="tx2"/>
                </a:solidFill>
              </a:defRPr>
            </a:lvl3pPr>
            <a:lvl4pPr algn="l">
              <a:buNone/>
              <a:defRPr sz="1200" b="0">
                <a:solidFill>
                  <a:schemeClr val="tx2"/>
                </a:solidFill>
              </a:defRPr>
            </a:lvl4pPr>
            <a:lvl5pPr algn="l">
              <a:buNone/>
              <a:defRPr sz="1200" b="0">
                <a:solidFill>
                  <a:schemeClr val="tx2"/>
                </a:solidFill>
              </a:defRPr>
            </a:lvl5pPr>
          </a:lstStyle>
          <a:p>
            <a:pPr lvl="0"/>
            <a:endParaRPr lang="en-US" dirty="0"/>
          </a:p>
        </p:txBody>
      </p:sp>
      <p:sp>
        <p:nvSpPr>
          <p:cNvPr id="13" name="Title 1"/>
          <p:cNvSpPr>
            <a:spLocks noGrp="1"/>
          </p:cNvSpPr>
          <p:nvPr>
            <p:ph type="ctrTitle"/>
          </p:nvPr>
        </p:nvSpPr>
        <p:spPr>
          <a:xfrm>
            <a:off x="601134" y="422275"/>
            <a:ext cx="8235951"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14" name="Text Placeholder 11"/>
          <p:cNvSpPr>
            <a:spLocks noGrp="1"/>
          </p:cNvSpPr>
          <p:nvPr>
            <p:ph type="body" sz="quarter" idx="12"/>
          </p:nvPr>
        </p:nvSpPr>
        <p:spPr>
          <a:xfrm>
            <a:off x="601133" y="800101"/>
            <a:ext cx="8235951"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26"/>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V_1 per page">
    <p:spTree>
      <p:nvGrpSpPr>
        <p:cNvPr id="1" name=""/>
        <p:cNvGrpSpPr/>
        <p:nvPr/>
      </p:nvGrpSpPr>
      <p:grpSpPr>
        <a:xfrm>
          <a:off x="0" y="0"/>
          <a:ext cx="0" cy="0"/>
          <a:chOff x="0" y="0"/>
          <a:chExt cx="0" cy="0"/>
        </a:xfrm>
      </p:grpSpPr>
      <p:sp>
        <p:nvSpPr>
          <p:cNvPr id="3" name="Text Placeholder 2"/>
          <p:cNvSpPr>
            <a:spLocks noGrp="1"/>
          </p:cNvSpPr>
          <p:nvPr>
            <p:ph type="body" sz="quarter" idx="25" hasCustomPrompt="1"/>
          </p:nvPr>
        </p:nvSpPr>
        <p:spPr>
          <a:xfrm>
            <a:off x="719667" y="3401569"/>
            <a:ext cx="5223933" cy="720197"/>
          </a:xfrm>
          <a:prstGeom prst="rect">
            <a:avLst/>
          </a:prstGeom>
        </p:spPr>
        <p:txBody>
          <a:bodyPr>
            <a:spAutoFit/>
          </a:bodyPr>
          <a:lstStyle>
            <a:lvl1pPr marL="0" indent="0">
              <a:buNone/>
              <a:defRPr sz="1200" b="0" baseline="0"/>
            </a:lvl1pPr>
            <a:lvl2pPr marL="457200" indent="0">
              <a:spcAft>
                <a:spcPts val="600"/>
              </a:spcAft>
              <a:buNone/>
              <a:defRPr sz="1200"/>
            </a:lvl2pPr>
            <a:lvl3pPr marL="171450" indent="-171450">
              <a:spcAft>
                <a:spcPts val="600"/>
              </a:spcAft>
              <a:buFont typeface="Arial" panose="020B0604020202020204" pitchFamily="34" charset="0"/>
              <a:buChar char="•"/>
              <a:tabLst/>
              <a:defRPr sz="1200"/>
            </a:lvl3pPr>
            <a:lvl4pPr>
              <a:defRPr sz="1200"/>
            </a:lvl4pPr>
            <a:lvl5pPr>
              <a:defRPr sz="1200"/>
            </a:lvl5pPr>
          </a:lstStyle>
          <a:p>
            <a:pPr lvl="0"/>
            <a:r>
              <a:rPr lang="en-US" dirty="0" smtClean="0"/>
              <a:t>Background</a:t>
            </a:r>
          </a:p>
          <a:p>
            <a:pPr lvl="0"/>
            <a:r>
              <a:rPr lang="en-US" dirty="0" smtClean="0"/>
              <a:t>Body text</a:t>
            </a:r>
          </a:p>
          <a:p>
            <a:pPr lvl="2"/>
            <a:r>
              <a:rPr lang="en-US" dirty="0" smtClean="0"/>
              <a:t>Bullet 1</a:t>
            </a:r>
            <a:endParaRPr lang="en-NZ" dirty="0"/>
          </a:p>
        </p:txBody>
      </p:sp>
      <p:sp>
        <p:nvSpPr>
          <p:cNvPr id="12" name="Text Placeholder 2"/>
          <p:cNvSpPr>
            <a:spLocks noGrp="1"/>
          </p:cNvSpPr>
          <p:nvPr>
            <p:ph type="body" sz="quarter" idx="35" hasCustomPrompt="1"/>
          </p:nvPr>
        </p:nvSpPr>
        <p:spPr>
          <a:xfrm>
            <a:off x="6244167" y="3401569"/>
            <a:ext cx="5223933" cy="720197"/>
          </a:xfrm>
          <a:prstGeom prst="rect">
            <a:avLst/>
          </a:prstGeom>
        </p:spPr>
        <p:txBody>
          <a:bodyPr>
            <a:spAutoFit/>
          </a:bodyPr>
          <a:lstStyle>
            <a:lvl1pPr marL="0" indent="0">
              <a:buNone/>
              <a:defRPr sz="1200" baseline="0"/>
            </a:lvl1pPr>
            <a:lvl2pPr marL="457200" indent="0">
              <a:spcAft>
                <a:spcPts val="600"/>
              </a:spcAft>
              <a:buNone/>
              <a:defRPr sz="1200"/>
            </a:lvl2pPr>
            <a:lvl3pPr marL="177800" indent="-177800">
              <a:spcAft>
                <a:spcPts val="600"/>
              </a:spcAft>
              <a:tabLst/>
              <a:defRPr sz="1200"/>
            </a:lvl3pPr>
            <a:lvl4pPr>
              <a:defRPr sz="1200"/>
            </a:lvl4pPr>
            <a:lvl5pPr>
              <a:defRPr sz="1200"/>
            </a:lvl5pPr>
          </a:lstStyle>
          <a:p>
            <a:pPr lvl="0"/>
            <a:r>
              <a:rPr lang="en-US" dirty="0" smtClean="0"/>
              <a:t>Experience</a:t>
            </a:r>
          </a:p>
          <a:p>
            <a:pPr lvl="0"/>
            <a:r>
              <a:rPr lang="en-US" dirty="0" smtClean="0"/>
              <a:t>Body text</a:t>
            </a:r>
          </a:p>
          <a:p>
            <a:pPr lvl="2"/>
            <a:r>
              <a:rPr lang="en-US" dirty="0" smtClean="0"/>
              <a:t>Bullet 1</a:t>
            </a:r>
            <a:endParaRPr lang="en-NZ" dirty="0"/>
          </a:p>
        </p:txBody>
      </p:sp>
      <p:sp>
        <p:nvSpPr>
          <p:cNvPr id="13" name="Text Placeholder 2"/>
          <p:cNvSpPr>
            <a:spLocks noGrp="1"/>
          </p:cNvSpPr>
          <p:nvPr>
            <p:ph type="body" sz="quarter" idx="34" hasCustomPrompt="1"/>
          </p:nvPr>
        </p:nvSpPr>
        <p:spPr>
          <a:xfrm>
            <a:off x="2523066" y="2308287"/>
            <a:ext cx="3429001" cy="935641"/>
          </a:xfrm>
          <a:prstGeom prst="rect">
            <a:avLst/>
          </a:prstGeom>
        </p:spPr>
        <p:txBody>
          <a:bodyPr>
            <a:spAutoFit/>
          </a:bodyPr>
          <a:lstStyle>
            <a:lvl1pPr marL="0" indent="0">
              <a:spcAft>
                <a:spcPts val="0"/>
              </a:spcAft>
              <a:buNone/>
              <a:defRPr sz="1400" b="0" baseline="0">
                <a:solidFill>
                  <a:schemeClr val="accent1"/>
                </a:solidFill>
              </a:defRPr>
            </a:lvl1pPr>
            <a:lvl2pPr marL="457200" indent="0">
              <a:buNone/>
              <a:defRPr sz="1400">
                <a:solidFill>
                  <a:schemeClr val="bg2"/>
                </a:solidFill>
              </a:defRPr>
            </a:lvl2pPr>
            <a:lvl3pPr marL="0" indent="0">
              <a:spcAft>
                <a:spcPts val="0"/>
              </a:spcAft>
              <a:buFont typeface="Arial" panose="020B0604020202020204" pitchFamily="34" charset="0"/>
              <a:buNone/>
              <a:tabLst/>
              <a:defRPr sz="1000" baseline="0">
                <a:solidFill>
                  <a:schemeClr val="accent2"/>
                </a:solidFill>
              </a:defRPr>
            </a:lvl3pPr>
            <a:lvl4pPr>
              <a:defRPr sz="1100"/>
            </a:lvl4pPr>
            <a:lvl5pPr>
              <a:defRPr sz="1200"/>
            </a:lvl5pPr>
          </a:lstStyle>
          <a:p>
            <a:pPr lvl="0"/>
            <a:r>
              <a:rPr lang="en-US" dirty="0" smtClean="0"/>
              <a:t>Name Surname</a:t>
            </a:r>
          </a:p>
          <a:p>
            <a:pPr lvl="0"/>
            <a:r>
              <a:rPr lang="en-US" dirty="0" smtClean="0"/>
              <a:t>Title</a:t>
            </a:r>
          </a:p>
          <a:p>
            <a:pPr lvl="2"/>
            <a:r>
              <a:rPr lang="en-US" dirty="0" smtClean="0"/>
              <a:t>Contact details</a:t>
            </a:r>
          </a:p>
          <a:p>
            <a:pPr lvl="2"/>
            <a:r>
              <a:rPr lang="en-US" dirty="0" smtClean="0"/>
              <a:t>Email address</a:t>
            </a:r>
          </a:p>
        </p:txBody>
      </p:sp>
      <p:sp>
        <p:nvSpPr>
          <p:cNvPr id="9" name="Title 1"/>
          <p:cNvSpPr>
            <a:spLocks noGrp="1"/>
          </p:cNvSpPr>
          <p:nvPr>
            <p:ph type="ctrTitle"/>
          </p:nvPr>
        </p:nvSpPr>
        <p:spPr>
          <a:xfrm>
            <a:off x="601134" y="422275"/>
            <a:ext cx="8235951"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11" name="Text Placeholder 11"/>
          <p:cNvSpPr>
            <a:spLocks noGrp="1"/>
          </p:cNvSpPr>
          <p:nvPr>
            <p:ph type="body" sz="quarter" idx="15"/>
          </p:nvPr>
        </p:nvSpPr>
        <p:spPr>
          <a:xfrm>
            <a:off x="601133" y="800101"/>
            <a:ext cx="8235951"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4" name="Slide Number Placeholder 3"/>
          <p:cNvSpPr>
            <a:spLocks noGrp="1"/>
          </p:cNvSpPr>
          <p:nvPr>
            <p:ph type="sldNum" sz="quarter" idx="37"/>
          </p:nvPr>
        </p:nvSpPr>
        <p:spPr/>
        <p:txBody>
          <a:bodyPr/>
          <a:lstStyle/>
          <a:p>
            <a:fld id="{37375A8A-23F4-4063-BF5D-AACA5B32A470}" type="slidenum">
              <a:rPr lang="en-US" smtClean="0"/>
              <a:pPr/>
              <a:t>‹#›</a:t>
            </a:fld>
            <a:endParaRPr lang="en-US" dirty="0"/>
          </a:p>
        </p:txBody>
      </p:sp>
      <p:sp>
        <p:nvSpPr>
          <p:cNvPr id="6" name="Picture Placeholder 5"/>
          <p:cNvSpPr>
            <a:spLocks noGrp="1"/>
          </p:cNvSpPr>
          <p:nvPr>
            <p:ph type="pic" sz="quarter" idx="38" hasCustomPrompt="1"/>
          </p:nvPr>
        </p:nvSpPr>
        <p:spPr>
          <a:xfrm>
            <a:off x="719667" y="1758963"/>
            <a:ext cx="1655233" cy="1516062"/>
          </a:xfrm>
          <a:prstGeom prst="rect">
            <a:avLst/>
          </a:prstGeom>
          <a:solidFill>
            <a:schemeClr val="bg1"/>
          </a:solidFill>
        </p:spPr>
        <p:txBody>
          <a:bodyPr/>
          <a:lstStyle>
            <a:lvl1pPr marL="0" indent="0" algn="ctr">
              <a:buNone/>
              <a:defRPr sz="1400"/>
            </a:lvl1pPr>
          </a:lstStyle>
          <a:p>
            <a:r>
              <a:rPr lang="en-US" dirty="0" smtClean="0"/>
              <a:t>Click and open Windows Explorer</a:t>
            </a:r>
          </a:p>
          <a:p>
            <a:endParaRPr lang="en-US" dirty="0"/>
          </a:p>
        </p:txBody>
      </p:sp>
    </p:spTree>
    <p:extLst>
      <p:ext uri="{BB962C8B-B14F-4D97-AF65-F5344CB8AC3E}">
        <p14:creationId xmlns:p14="http://schemas.microsoft.com/office/powerpoint/2010/main" val="70716096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V_4 per page">
    <p:spTree>
      <p:nvGrpSpPr>
        <p:cNvPr id="1" name=""/>
        <p:cNvGrpSpPr/>
        <p:nvPr/>
      </p:nvGrpSpPr>
      <p:grpSpPr>
        <a:xfrm>
          <a:off x="0" y="0"/>
          <a:ext cx="0" cy="0"/>
          <a:chOff x="0" y="0"/>
          <a:chExt cx="0" cy="0"/>
        </a:xfrm>
      </p:grpSpPr>
      <p:sp>
        <p:nvSpPr>
          <p:cNvPr id="15" name="Picture Placeholder 16"/>
          <p:cNvSpPr>
            <a:spLocks noGrp="1"/>
          </p:cNvSpPr>
          <p:nvPr>
            <p:ph type="pic" sz="quarter" idx="18" hasCustomPrompt="1"/>
          </p:nvPr>
        </p:nvSpPr>
        <p:spPr>
          <a:xfrm>
            <a:off x="719665" y="1769338"/>
            <a:ext cx="1168400" cy="1069977"/>
          </a:xfrm>
          <a:prstGeom prst="rect">
            <a:avLst/>
          </a:prstGeom>
          <a:noFill/>
        </p:spPr>
        <p:txBody>
          <a:bodyPr anchor="ctr">
            <a:noAutofit/>
          </a:bodyPr>
          <a:lstStyle>
            <a:lvl1pPr marL="0" indent="0" algn="ctr">
              <a:buNone/>
              <a:defRPr sz="1200">
                <a:solidFill>
                  <a:schemeClr val="accent6"/>
                </a:solidFill>
              </a:defRPr>
            </a:lvl1pPr>
          </a:lstStyle>
          <a:p>
            <a:r>
              <a:rPr lang="en-NZ" dirty="0" smtClean="0"/>
              <a:t>Click and open Windows Explorer</a:t>
            </a:r>
          </a:p>
        </p:txBody>
      </p:sp>
      <p:sp>
        <p:nvSpPr>
          <p:cNvPr id="16" name="Picture Placeholder 16"/>
          <p:cNvSpPr>
            <a:spLocks noGrp="1"/>
          </p:cNvSpPr>
          <p:nvPr>
            <p:ph type="pic" sz="quarter" idx="19" hasCustomPrompt="1"/>
          </p:nvPr>
        </p:nvSpPr>
        <p:spPr>
          <a:xfrm>
            <a:off x="9006468" y="1769338"/>
            <a:ext cx="1168400" cy="1069977"/>
          </a:xfrm>
          <a:prstGeom prst="rect">
            <a:avLst/>
          </a:prstGeom>
          <a:noFill/>
        </p:spPr>
        <p:txBody>
          <a:bodyPr anchor="ctr">
            <a:noAutofit/>
          </a:bodyPr>
          <a:lstStyle>
            <a:lvl1pPr marL="0" indent="0" algn="ctr">
              <a:buNone/>
              <a:defRPr sz="1200">
                <a:solidFill>
                  <a:schemeClr val="accent6"/>
                </a:solidFill>
              </a:defRPr>
            </a:lvl1pPr>
          </a:lstStyle>
          <a:p>
            <a:r>
              <a:rPr lang="en-NZ" dirty="0" smtClean="0"/>
              <a:t>Click and open Windows Explorer</a:t>
            </a:r>
          </a:p>
        </p:txBody>
      </p:sp>
      <p:sp>
        <p:nvSpPr>
          <p:cNvPr id="17" name="Picture Placeholder 16"/>
          <p:cNvSpPr>
            <a:spLocks noGrp="1"/>
          </p:cNvSpPr>
          <p:nvPr>
            <p:ph type="pic" sz="quarter" idx="20" hasCustomPrompt="1"/>
          </p:nvPr>
        </p:nvSpPr>
        <p:spPr>
          <a:xfrm>
            <a:off x="6244201" y="1769338"/>
            <a:ext cx="1168400" cy="1069977"/>
          </a:xfrm>
          <a:prstGeom prst="rect">
            <a:avLst/>
          </a:prstGeom>
          <a:noFill/>
        </p:spPr>
        <p:txBody>
          <a:bodyPr anchor="ctr">
            <a:noAutofit/>
          </a:bodyPr>
          <a:lstStyle>
            <a:lvl1pPr marL="0" indent="0" algn="ctr">
              <a:buNone/>
              <a:defRPr sz="1200">
                <a:solidFill>
                  <a:schemeClr val="accent6"/>
                </a:solidFill>
              </a:defRPr>
            </a:lvl1pPr>
          </a:lstStyle>
          <a:p>
            <a:r>
              <a:rPr lang="en-NZ" smtClean="0"/>
              <a:t>Click and open Windows Explorer</a:t>
            </a:r>
          </a:p>
        </p:txBody>
      </p:sp>
      <p:sp>
        <p:nvSpPr>
          <p:cNvPr id="18" name="Picture Placeholder 16"/>
          <p:cNvSpPr>
            <a:spLocks noGrp="1"/>
          </p:cNvSpPr>
          <p:nvPr>
            <p:ph type="pic" sz="quarter" idx="21" hasCustomPrompt="1"/>
          </p:nvPr>
        </p:nvSpPr>
        <p:spPr>
          <a:xfrm>
            <a:off x="3481933" y="1769338"/>
            <a:ext cx="1168400" cy="1069977"/>
          </a:xfrm>
          <a:prstGeom prst="rect">
            <a:avLst/>
          </a:prstGeom>
          <a:noFill/>
        </p:spPr>
        <p:txBody>
          <a:bodyPr anchor="ctr">
            <a:noAutofit/>
          </a:bodyPr>
          <a:lstStyle>
            <a:lvl1pPr marL="0" indent="0" algn="ctr">
              <a:buNone/>
              <a:defRPr sz="1200">
                <a:solidFill>
                  <a:schemeClr val="accent6"/>
                </a:solidFill>
              </a:defRPr>
            </a:lvl1pPr>
          </a:lstStyle>
          <a:p>
            <a:r>
              <a:rPr lang="en-NZ" smtClean="0"/>
              <a:t>Click and open Windows Explorer</a:t>
            </a:r>
          </a:p>
        </p:txBody>
      </p:sp>
      <p:sp>
        <p:nvSpPr>
          <p:cNvPr id="25" name="Text Placeholder 2"/>
          <p:cNvSpPr>
            <a:spLocks noGrp="1"/>
          </p:cNvSpPr>
          <p:nvPr>
            <p:ph type="body" sz="quarter" idx="25" hasCustomPrompt="1"/>
          </p:nvPr>
        </p:nvSpPr>
        <p:spPr>
          <a:xfrm>
            <a:off x="719667" y="2964765"/>
            <a:ext cx="2457451" cy="1210588"/>
          </a:xfrm>
          <a:prstGeom prst="rect">
            <a:avLst/>
          </a:prstGeom>
        </p:spPr>
        <p:txBody>
          <a:bodyPr/>
          <a:lstStyle>
            <a:lvl1pPr marL="0" indent="0">
              <a:spcAft>
                <a:spcPts val="0"/>
              </a:spcAft>
              <a:buNone/>
              <a:defRPr sz="1200" b="0" baseline="0">
                <a:solidFill>
                  <a:schemeClr val="accent2"/>
                </a:solidFill>
              </a:defRPr>
            </a:lvl1pPr>
            <a:lvl2pPr marL="457200" indent="0">
              <a:buNone/>
              <a:defRPr sz="1200">
                <a:solidFill>
                  <a:schemeClr val="bg2"/>
                </a:solidFill>
              </a:defRPr>
            </a:lvl2pPr>
            <a:lvl3pPr marL="0" indent="0">
              <a:spcAft>
                <a:spcPts val="600"/>
              </a:spcAft>
              <a:buFont typeface="Arial" panose="020B0604020202020204" pitchFamily="34" charset="0"/>
              <a:buNone/>
              <a:tabLst/>
              <a:defRPr sz="1200" baseline="0">
                <a:solidFill>
                  <a:schemeClr val="accent2"/>
                </a:solidFill>
              </a:defRPr>
            </a:lvl3pPr>
            <a:lvl4pPr marL="177800" indent="-177800">
              <a:spcAft>
                <a:spcPts val="600"/>
              </a:spcAft>
              <a:buFont typeface="Arial" panose="020B0604020202020204" pitchFamily="34" charset="0"/>
              <a:buChar char="•"/>
              <a:defRPr sz="1200">
                <a:solidFill>
                  <a:schemeClr val="accent2"/>
                </a:solidFill>
              </a:defRPr>
            </a:lvl4pPr>
            <a:lvl5pPr marL="357188" indent="-179388">
              <a:spcAft>
                <a:spcPts val="600"/>
              </a:spcAft>
              <a:defRPr sz="1200">
                <a:solidFill>
                  <a:schemeClr val="accent2"/>
                </a:solidFill>
              </a:defRPr>
            </a:lvl5pPr>
          </a:lstStyle>
          <a:p>
            <a:pPr lvl="0"/>
            <a:r>
              <a:rPr lang="en-US" dirty="0" smtClean="0"/>
              <a:t>Name Surname</a:t>
            </a:r>
          </a:p>
          <a:p>
            <a:pPr lvl="0"/>
            <a:r>
              <a:rPr lang="en-US" dirty="0" smtClean="0"/>
              <a:t>Title</a:t>
            </a:r>
          </a:p>
          <a:p>
            <a:pPr lvl="2"/>
            <a:r>
              <a:rPr lang="en-US" dirty="0" smtClean="0"/>
              <a:t>Body text</a:t>
            </a:r>
          </a:p>
          <a:p>
            <a:pPr lvl="3"/>
            <a:r>
              <a:rPr lang="en-US" dirty="0" smtClean="0"/>
              <a:t>Bullet 1</a:t>
            </a:r>
          </a:p>
          <a:p>
            <a:pPr lvl="4"/>
            <a:r>
              <a:rPr lang="en-US" dirty="0" smtClean="0"/>
              <a:t>Bullet 2</a:t>
            </a:r>
            <a:endParaRPr lang="en-NZ" dirty="0"/>
          </a:p>
        </p:txBody>
      </p:sp>
      <p:sp>
        <p:nvSpPr>
          <p:cNvPr id="26" name="Text Placeholder 2"/>
          <p:cNvSpPr>
            <a:spLocks noGrp="1"/>
          </p:cNvSpPr>
          <p:nvPr>
            <p:ph type="body" sz="quarter" idx="34" hasCustomPrompt="1"/>
          </p:nvPr>
        </p:nvSpPr>
        <p:spPr>
          <a:xfrm>
            <a:off x="9006468" y="2964765"/>
            <a:ext cx="2457451" cy="1210588"/>
          </a:xfrm>
          <a:prstGeom prst="rect">
            <a:avLst/>
          </a:prstGeom>
        </p:spPr>
        <p:txBody>
          <a:bodyPr/>
          <a:lstStyle>
            <a:lvl1pPr marL="0" indent="0">
              <a:spcAft>
                <a:spcPts val="0"/>
              </a:spcAft>
              <a:buNone/>
              <a:defRPr sz="1200" b="0" baseline="0">
                <a:solidFill>
                  <a:schemeClr val="accent2"/>
                </a:solidFill>
              </a:defRPr>
            </a:lvl1pPr>
            <a:lvl2pPr marL="457200" indent="0">
              <a:buNone/>
              <a:defRPr sz="1200">
                <a:solidFill>
                  <a:schemeClr val="bg2"/>
                </a:solidFill>
              </a:defRPr>
            </a:lvl2pPr>
            <a:lvl3pPr marL="0" indent="0">
              <a:spcAft>
                <a:spcPts val="600"/>
              </a:spcAft>
              <a:buFont typeface="Arial" panose="020B0604020202020204" pitchFamily="34" charset="0"/>
              <a:buNone/>
              <a:tabLst/>
              <a:defRPr sz="1200" baseline="0">
                <a:solidFill>
                  <a:schemeClr val="accent2"/>
                </a:solidFill>
              </a:defRPr>
            </a:lvl3pPr>
            <a:lvl4pPr marL="177800" indent="-177800">
              <a:spcAft>
                <a:spcPts val="600"/>
              </a:spcAft>
              <a:buFont typeface="Arial" panose="020B0604020202020204" pitchFamily="34" charset="0"/>
              <a:buChar char="•"/>
              <a:defRPr sz="1200">
                <a:solidFill>
                  <a:schemeClr val="accent2"/>
                </a:solidFill>
              </a:defRPr>
            </a:lvl4pPr>
            <a:lvl5pPr marL="357188" indent="-179388">
              <a:spcAft>
                <a:spcPts val="600"/>
              </a:spcAft>
              <a:defRPr sz="1200">
                <a:solidFill>
                  <a:schemeClr val="accent2"/>
                </a:solidFill>
              </a:defRPr>
            </a:lvl5pPr>
          </a:lstStyle>
          <a:p>
            <a:pPr lvl="0"/>
            <a:r>
              <a:rPr lang="en-US" dirty="0" smtClean="0"/>
              <a:t>Name Surname</a:t>
            </a:r>
          </a:p>
          <a:p>
            <a:pPr lvl="0"/>
            <a:r>
              <a:rPr lang="en-US" dirty="0" smtClean="0"/>
              <a:t>Title</a:t>
            </a:r>
          </a:p>
          <a:p>
            <a:pPr lvl="2"/>
            <a:r>
              <a:rPr lang="en-US" dirty="0" smtClean="0"/>
              <a:t>Body text</a:t>
            </a:r>
          </a:p>
          <a:p>
            <a:pPr lvl="3"/>
            <a:r>
              <a:rPr lang="en-US" dirty="0" smtClean="0"/>
              <a:t>Bullet 1</a:t>
            </a:r>
          </a:p>
          <a:p>
            <a:pPr lvl="4"/>
            <a:r>
              <a:rPr lang="en-US" dirty="0" smtClean="0"/>
              <a:t>Bullet 2</a:t>
            </a:r>
            <a:endParaRPr lang="en-NZ" dirty="0"/>
          </a:p>
        </p:txBody>
      </p:sp>
      <p:sp>
        <p:nvSpPr>
          <p:cNvPr id="27" name="Text Placeholder 2"/>
          <p:cNvSpPr>
            <a:spLocks noGrp="1"/>
          </p:cNvSpPr>
          <p:nvPr>
            <p:ph type="body" sz="quarter" idx="35" hasCustomPrompt="1"/>
          </p:nvPr>
        </p:nvSpPr>
        <p:spPr>
          <a:xfrm>
            <a:off x="6244200" y="2964765"/>
            <a:ext cx="2457451" cy="1210588"/>
          </a:xfrm>
          <a:prstGeom prst="rect">
            <a:avLst/>
          </a:prstGeom>
        </p:spPr>
        <p:txBody>
          <a:bodyPr/>
          <a:lstStyle>
            <a:lvl1pPr marL="0" indent="0">
              <a:spcAft>
                <a:spcPts val="0"/>
              </a:spcAft>
              <a:buNone/>
              <a:defRPr sz="1200" b="0" baseline="0">
                <a:solidFill>
                  <a:schemeClr val="accent2"/>
                </a:solidFill>
              </a:defRPr>
            </a:lvl1pPr>
            <a:lvl2pPr marL="457200" indent="0">
              <a:buNone/>
              <a:defRPr sz="1200">
                <a:solidFill>
                  <a:schemeClr val="bg2"/>
                </a:solidFill>
              </a:defRPr>
            </a:lvl2pPr>
            <a:lvl3pPr marL="0" indent="0">
              <a:spcAft>
                <a:spcPts val="600"/>
              </a:spcAft>
              <a:buFont typeface="Arial" panose="020B0604020202020204" pitchFamily="34" charset="0"/>
              <a:buNone/>
              <a:tabLst/>
              <a:defRPr sz="1200" baseline="0">
                <a:solidFill>
                  <a:schemeClr val="accent2"/>
                </a:solidFill>
              </a:defRPr>
            </a:lvl3pPr>
            <a:lvl4pPr marL="177800" indent="-177800">
              <a:spcAft>
                <a:spcPts val="600"/>
              </a:spcAft>
              <a:buFont typeface="Arial" panose="020B0604020202020204" pitchFamily="34" charset="0"/>
              <a:buChar char="•"/>
              <a:defRPr sz="1200">
                <a:solidFill>
                  <a:schemeClr val="accent2"/>
                </a:solidFill>
              </a:defRPr>
            </a:lvl4pPr>
            <a:lvl5pPr marL="357188" indent="-179388">
              <a:spcAft>
                <a:spcPts val="600"/>
              </a:spcAft>
              <a:defRPr sz="1200">
                <a:solidFill>
                  <a:schemeClr val="accent2"/>
                </a:solidFill>
              </a:defRPr>
            </a:lvl5pPr>
          </a:lstStyle>
          <a:p>
            <a:pPr lvl="0"/>
            <a:r>
              <a:rPr lang="en-US" dirty="0" smtClean="0"/>
              <a:t>Name Surname</a:t>
            </a:r>
          </a:p>
          <a:p>
            <a:pPr lvl="0"/>
            <a:r>
              <a:rPr lang="en-US" dirty="0" smtClean="0"/>
              <a:t>Title</a:t>
            </a:r>
          </a:p>
          <a:p>
            <a:pPr lvl="2"/>
            <a:r>
              <a:rPr lang="en-US" dirty="0" smtClean="0"/>
              <a:t>Body text</a:t>
            </a:r>
          </a:p>
          <a:p>
            <a:pPr lvl="3"/>
            <a:r>
              <a:rPr lang="en-US" dirty="0" smtClean="0"/>
              <a:t>Bullet 1</a:t>
            </a:r>
          </a:p>
          <a:p>
            <a:pPr lvl="4"/>
            <a:r>
              <a:rPr lang="en-US" dirty="0" smtClean="0"/>
              <a:t>Bullet 2</a:t>
            </a:r>
            <a:endParaRPr lang="en-NZ" dirty="0"/>
          </a:p>
        </p:txBody>
      </p:sp>
      <p:sp>
        <p:nvSpPr>
          <p:cNvPr id="28" name="Text Placeholder 2"/>
          <p:cNvSpPr>
            <a:spLocks noGrp="1"/>
          </p:cNvSpPr>
          <p:nvPr>
            <p:ph type="body" sz="quarter" idx="36" hasCustomPrompt="1"/>
          </p:nvPr>
        </p:nvSpPr>
        <p:spPr>
          <a:xfrm>
            <a:off x="3481933" y="2964765"/>
            <a:ext cx="2457451" cy="1210588"/>
          </a:xfrm>
          <a:prstGeom prst="rect">
            <a:avLst/>
          </a:prstGeom>
        </p:spPr>
        <p:txBody>
          <a:bodyPr/>
          <a:lstStyle>
            <a:lvl1pPr marL="0" indent="0">
              <a:spcAft>
                <a:spcPts val="0"/>
              </a:spcAft>
              <a:buNone/>
              <a:defRPr sz="1200" b="0" baseline="0">
                <a:solidFill>
                  <a:schemeClr val="accent2"/>
                </a:solidFill>
              </a:defRPr>
            </a:lvl1pPr>
            <a:lvl2pPr marL="457200" indent="0">
              <a:buNone/>
              <a:defRPr sz="1200">
                <a:solidFill>
                  <a:schemeClr val="bg2"/>
                </a:solidFill>
              </a:defRPr>
            </a:lvl2pPr>
            <a:lvl3pPr marL="0" indent="0">
              <a:spcAft>
                <a:spcPts val="600"/>
              </a:spcAft>
              <a:buFont typeface="Arial" panose="020B0604020202020204" pitchFamily="34" charset="0"/>
              <a:buNone/>
              <a:tabLst/>
              <a:defRPr sz="1200" baseline="0">
                <a:solidFill>
                  <a:schemeClr val="accent2"/>
                </a:solidFill>
              </a:defRPr>
            </a:lvl3pPr>
            <a:lvl4pPr marL="177800" indent="-177800">
              <a:spcAft>
                <a:spcPts val="600"/>
              </a:spcAft>
              <a:buFont typeface="Arial" panose="020B0604020202020204" pitchFamily="34" charset="0"/>
              <a:buChar char="•"/>
              <a:defRPr sz="1200">
                <a:solidFill>
                  <a:schemeClr val="accent2"/>
                </a:solidFill>
              </a:defRPr>
            </a:lvl4pPr>
            <a:lvl5pPr marL="357188" indent="-179388">
              <a:spcAft>
                <a:spcPts val="600"/>
              </a:spcAft>
              <a:defRPr sz="1200">
                <a:solidFill>
                  <a:schemeClr val="accent2"/>
                </a:solidFill>
              </a:defRPr>
            </a:lvl5pPr>
          </a:lstStyle>
          <a:p>
            <a:pPr lvl="0"/>
            <a:r>
              <a:rPr lang="en-US" dirty="0" smtClean="0"/>
              <a:t>Name Surname</a:t>
            </a:r>
          </a:p>
          <a:p>
            <a:pPr lvl="0"/>
            <a:r>
              <a:rPr lang="en-US" dirty="0" smtClean="0"/>
              <a:t>Title</a:t>
            </a:r>
          </a:p>
          <a:p>
            <a:pPr lvl="2"/>
            <a:r>
              <a:rPr lang="en-US" dirty="0" smtClean="0"/>
              <a:t>Body text</a:t>
            </a:r>
          </a:p>
          <a:p>
            <a:pPr lvl="3"/>
            <a:r>
              <a:rPr lang="en-US" dirty="0" smtClean="0"/>
              <a:t>Bullet 1</a:t>
            </a:r>
          </a:p>
          <a:p>
            <a:pPr lvl="4"/>
            <a:r>
              <a:rPr lang="en-US" dirty="0" smtClean="0"/>
              <a:t>Bullet 2</a:t>
            </a:r>
            <a:endParaRPr lang="en-NZ" dirty="0"/>
          </a:p>
        </p:txBody>
      </p:sp>
      <p:sp>
        <p:nvSpPr>
          <p:cNvPr id="19" name="Title 1"/>
          <p:cNvSpPr>
            <a:spLocks noGrp="1"/>
          </p:cNvSpPr>
          <p:nvPr>
            <p:ph type="ctrTitle"/>
          </p:nvPr>
        </p:nvSpPr>
        <p:spPr>
          <a:xfrm>
            <a:off x="601134" y="422275"/>
            <a:ext cx="8235951"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21" name="Text Placeholder 11"/>
          <p:cNvSpPr>
            <a:spLocks noGrp="1"/>
          </p:cNvSpPr>
          <p:nvPr>
            <p:ph type="body" sz="quarter" idx="15"/>
          </p:nvPr>
        </p:nvSpPr>
        <p:spPr>
          <a:xfrm>
            <a:off x="601133" y="800101"/>
            <a:ext cx="8235951"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38"/>
          </p:nvPr>
        </p:nvSpPr>
        <p:spPr/>
        <p:txBody>
          <a:bodyPr/>
          <a:lstStyle/>
          <a:p>
            <a:fld id="{37375A8A-23F4-4063-BF5D-AACA5B32A470}" type="slidenum">
              <a:rPr lang="en-US" smtClean="0"/>
              <a:pPr/>
              <a:t>‹#›</a:t>
            </a:fld>
            <a:endParaRPr lang="en-US" dirty="0"/>
          </a:p>
        </p:txBody>
      </p:sp>
    </p:spTree>
    <p:extLst>
      <p:ext uri="{BB962C8B-B14F-4D97-AF65-F5344CB8AC3E}">
        <p14:creationId xmlns:p14="http://schemas.microsoft.com/office/powerpoint/2010/main" val="47464033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Cover Slide">
    <p:spTree>
      <p:nvGrpSpPr>
        <p:cNvPr id="1" name=""/>
        <p:cNvGrpSpPr/>
        <p:nvPr/>
      </p:nvGrpSpPr>
      <p:grpSpPr>
        <a:xfrm>
          <a:off x="0" y="0"/>
          <a:ext cx="0" cy="0"/>
          <a:chOff x="0" y="0"/>
          <a:chExt cx="0" cy="0"/>
        </a:xfrm>
      </p:grpSpPr>
      <p:sp>
        <p:nvSpPr>
          <p:cNvPr id="11" name="Freeform 10"/>
          <p:cNvSpPr/>
          <p:nvPr userDrawn="1"/>
        </p:nvSpPr>
        <p:spPr>
          <a:xfrm rot="1680000" flipH="1" flipV="1">
            <a:off x="7211897" y="1118063"/>
            <a:ext cx="6031655" cy="2966608"/>
          </a:xfrm>
          <a:custGeom>
            <a:avLst/>
            <a:gdLst>
              <a:gd name="connsiteX0" fmla="*/ 0 w 431321"/>
              <a:gd name="connsiteY0" fmla="*/ 0 h 3278038"/>
              <a:gd name="connsiteX1" fmla="*/ 431321 w 431321"/>
              <a:gd name="connsiteY1" fmla="*/ 0 h 3278038"/>
              <a:gd name="connsiteX2" fmla="*/ 431321 w 431321"/>
              <a:gd name="connsiteY2" fmla="*/ 3278038 h 3278038"/>
              <a:gd name="connsiteX3" fmla="*/ 0 w 431321"/>
              <a:gd name="connsiteY3" fmla="*/ 3278038 h 3278038"/>
              <a:gd name="connsiteX4" fmla="*/ 0 w 431321"/>
              <a:gd name="connsiteY4" fmla="*/ 0 h 3278038"/>
              <a:gd name="connsiteX0" fmla="*/ 0 w 1952909"/>
              <a:gd name="connsiteY0" fmla="*/ 1033753 h 3278038"/>
              <a:gd name="connsiteX1" fmla="*/ 1952909 w 1952909"/>
              <a:gd name="connsiteY1" fmla="*/ 0 h 3278038"/>
              <a:gd name="connsiteX2" fmla="*/ 1952909 w 1952909"/>
              <a:gd name="connsiteY2" fmla="*/ 3278038 h 3278038"/>
              <a:gd name="connsiteX3" fmla="*/ 1521588 w 1952909"/>
              <a:gd name="connsiteY3" fmla="*/ 3278038 h 3278038"/>
              <a:gd name="connsiteX4" fmla="*/ 0 w 1952909"/>
              <a:gd name="connsiteY4" fmla="*/ 1033753 h 3278038"/>
              <a:gd name="connsiteX0" fmla="*/ 0 w 3541702"/>
              <a:gd name="connsiteY0" fmla="*/ 1888300 h 3278038"/>
              <a:gd name="connsiteX1" fmla="*/ 3541702 w 3541702"/>
              <a:gd name="connsiteY1" fmla="*/ 0 h 3278038"/>
              <a:gd name="connsiteX2" fmla="*/ 3541702 w 3541702"/>
              <a:gd name="connsiteY2" fmla="*/ 3278038 h 3278038"/>
              <a:gd name="connsiteX3" fmla="*/ 3110381 w 3541702"/>
              <a:gd name="connsiteY3" fmla="*/ 3278038 h 3278038"/>
              <a:gd name="connsiteX4" fmla="*/ 0 w 3541702"/>
              <a:gd name="connsiteY4" fmla="*/ 1888300 h 3278038"/>
              <a:gd name="connsiteX0" fmla="*/ 0 w 3541702"/>
              <a:gd name="connsiteY0" fmla="*/ 1888300 h 5723271"/>
              <a:gd name="connsiteX1" fmla="*/ 3541702 w 3541702"/>
              <a:gd name="connsiteY1" fmla="*/ 0 h 5723271"/>
              <a:gd name="connsiteX2" fmla="*/ 3541702 w 3541702"/>
              <a:gd name="connsiteY2" fmla="*/ 3278038 h 5723271"/>
              <a:gd name="connsiteX3" fmla="*/ 2039089 w 3541702"/>
              <a:gd name="connsiteY3" fmla="*/ 5723271 h 5723271"/>
              <a:gd name="connsiteX4" fmla="*/ 0 w 3541702"/>
              <a:gd name="connsiteY4" fmla="*/ 1888300 h 5723271"/>
              <a:gd name="connsiteX0" fmla="*/ 0 w 3541702"/>
              <a:gd name="connsiteY0" fmla="*/ 1888300 h 5723271"/>
              <a:gd name="connsiteX1" fmla="*/ 3541702 w 3541702"/>
              <a:gd name="connsiteY1" fmla="*/ 0 h 5723271"/>
              <a:gd name="connsiteX2" fmla="*/ 3530999 w 3541702"/>
              <a:gd name="connsiteY2" fmla="*/ 4930010 h 5723271"/>
              <a:gd name="connsiteX3" fmla="*/ 2039089 w 3541702"/>
              <a:gd name="connsiteY3" fmla="*/ 5723271 h 5723271"/>
              <a:gd name="connsiteX4" fmla="*/ 0 w 3541702"/>
              <a:gd name="connsiteY4" fmla="*/ 1888300 h 5723271"/>
              <a:gd name="connsiteX0" fmla="*/ 0 w 5020365"/>
              <a:gd name="connsiteY0" fmla="*/ 2673844 h 5723271"/>
              <a:gd name="connsiteX1" fmla="*/ 5020365 w 5020365"/>
              <a:gd name="connsiteY1" fmla="*/ 0 h 5723271"/>
              <a:gd name="connsiteX2" fmla="*/ 5009662 w 5020365"/>
              <a:gd name="connsiteY2" fmla="*/ 4930010 h 5723271"/>
              <a:gd name="connsiteX3" fmla="*/ 3517752 w 5020365"/>
              <a:gd name="connsiteY3" fmla="*/ 5723271 h 5723271"/>
              <a:gd name="connsiteX4" fmla="*/ 0 w 5020365"/>
              <a:gd name="connsiteY4" fmla="*/ 2673844 h 5723271"/>
              <a:gd name="connsiteX0" fmla="*/ 0 w 5020365"/>
              <a:gd name="connsiteY0" fmla="*/ 2673844 h 7012041"/>
              <a:gd name="connsiteX1" fmla="*/ 5020365 w 5020365"/>
              <a:gd name="connsiteY1" fmla="*/ 0 h 7012041"/>
              <a:gd name="connsiteX2" fmla="*/ 5009662 w 5020365"/>
              <a:gd name="connsiteY2" fmla="*/ 4930010 h 7012041"/>
              <a:gd name="connsiteX3" fmla="*/ 2306660 w 5020365"/>
              <a:gd name="connsiteY3" fmla="*/ 7012041 h 7012041"/>
              <a:gd name="connsiteX4" fmla="*/ 0 w 5020365"/>
              <a:gd name="connsiteY4" fmla="*/ 2673844 h 7012041"/>
              <a:gd name="connsiteX0" fmla="*/ 0 w 5021554"/>
              <a:gd name="connsiteY0" fmla="*/ 2673844 h 7012041"/>
              <a:gd name="connsiteX1" fmla="*/ 5020365 w 5021554"/>
              <a:gd name="connsiteY1" fmla="*/ 0 h 7012041"/>
              <a:gd name="connsiteX2" fmla="*/ 5017986 w 5021554"/>
              <a:gd name="connsiteY2" fmla="*/ 5570404 h 7012041"/>
              <a:gd name="connsiteX3" fmla="*/ 2306660 w 5021554"/>
              <a:gd name="connsiteY3" fmla="*/ 7012041 h 7012041"/>
              <a:gd name="connsiteX4" fmla="*/ 0 w 5021554"/>
              <a:gd name="connsiteY4" fmla="*/ 2673844 h 7012041"/>
              <a:gd name="connsiteX0" fmla="*/ 0 w 5850422"/>
              <a:gd name="connsiteY0" fmla="*/ 3114561 h 7012041"/>
              <a:gd name="connsiteX1" fmla="*/ 5849233 w 5850422"/>
              <a:gd name="connsiteY1" fmla="*/ 0 h 7012041"/>
              <a:gd name="connsiteX2" fmla="*/ 5846854 w 5850422"/>
              <a:gd name="connsiteY2" fmla="*/ 5570404 h 7012041"/>
              <a:gd name="connsiteX3" fmla="*/ 3135528 w 5850422"/>
              <a:gd name="connsiteY3" fmla="*/ 7012041 h 7012041"/>
              <a:gd name="connsiteX4" fmla="*/ 0 w 5850422"/>
              <a:gd name="connsiteY4" fmla="*/ 3114561 h 7012041"/>
              <a:gd name="connsiteX0" fmla="*/ 0 w 5850422"/>
              <a:gd name="connsiteY0" fmla="*/ 3114561 h 7452758"/>
              <a:gd name="connsiteX1" fmla="*/ 5849233 w 5850422"/>
              <a:gd name="connsiteY1" fmla="*/ 0 h 7452758"/>
              <a:gd name="connsiteX2" fmla="*/ 5846854 w 5850422"/>
              <a:gd name="connsiteY2" fmla="*/ 5570404 h 7452758"/>
              <a:gd name="connsiteX3" fmla="*/ 2306661 w 5850422"/>
              <a:gd name="connsiteY3" fmla="*/ 7452758 h 7452758"/>
              <a:gd name="connsiteX4" fmla="*/ 0 w 5850422"/>
              <a:gd name="connsiteY4" fmla="*/ 3114561 h 7452758"/>
              <a:gd name="connsiteX0" fmla="*/ 0 w 5850422"/>
              <a:gd name="connsiteY0" fmla="*/ 3114561 h 5570404"/>
              <a:gd name="connsiteX1" fmla="*/ 5849233 w 5850422"/>
              <a:gd name="connsiteY1" fmla="*/ 0 h 5570404"/>
              <a:gd name="connsiteX2" fmla="*/ 5846854 w 5850422"/>
              <a:gd name="connsiteY2" fmla="*/ 5570404 h 5570404"/>
              <a:gd name="connsiteX3" fmla="*/ 3474463 w 5850422"/>
              <a:gd name="connsiteY3" fmla="*/ 4759371 h 5570404"/>
              <a:gd name="connsiteX4" fmla="*/ 0 w 5850422"/>
              <a:gd name="connsiteY4" fmla="*/ 3114561 h 5570404"/>
              <a:gd name="connsiteX0" fmla="*/ 0 w 5856216"/>
              <a:gd name="connsiteY0" fmla="*/ 3114561 h 4759371"/>
              <a:gd name="connsiteX1" fmla="*/ 5849233 w 5856216"/>
              <a:gd name="connsiteY1" fmla="*/ 0 h 4759371"/>
              <a:gd name="connsiteX2" fmla="*/ 5852648 w 5856216"/>
              <a:gd name="connsiteY2" fmla="*/ 4566615 h 4759371"/>
              <a:gd name="connsiteX3" fmla="*/ 3474463 w 5856216"/>
              <a:gd name="connsiteY3" fmla="*/ 4759371 h 4759371"/>
              <a:gd name="connsiteX4" fmla="*/ 0 w 5856216"/>
              <a:gd name="connsiteY4" fmla="*/ 3114561 h 4759371"/>
              <a:gd name="connsiteX0" fmla="*/ 487124 w 2381753"/>
              <a:gd name="connsiteY0" fmla="*/ 1010044 h 4759371"/>
              <a:gd name="connsiteX1" fmla="*/ 2374770 w 2381753"/>
              <a:gd name="connsiteY1" fmla="*/ 0 h 4759371"/>
              <a:gd name="connsiteX2" fmla="*/ 2378185 w 2381753"/>
              <a:gd name="connsiteY2" fmla="*/ 4566615 h 4759371"/>
              <a:gd name="connsiteX3" fmla="*/ 0 w 2381753"/>
              <a:gd name="connsiteY3" fmla="*/ 4759371 h 4759371"/>
              <a:gd name="connsiteX4" fmla="*/ 487124 w 2381753"/>
              <a:gd name="connsiteY4" fmla="*/ 1010044 h 4759371"/>
              <a:gd name="connsiteX0" fmla="*/ 0 w 1894629"/>
              <a:gd name="connsiteY0" fmla="*/ 1010044 h 4566615"/>
              <a:gd name="connsiteX1" fmla="*/ 1887646 w 1894629"/>
              <a:gd name="connsiteY1" fmla="*/ 0 h 4566615"/>
              <a:gd name="connsiteX2" fmla="*/ 1891061 w 1894629"/>
              <a:gd name="connsiteY2" fmla="*/ 4566615 h 4566615"/>
              <a:gd name="connsiteX3" fmla="*/ 913720 w 1894629"/>
              <a:gd name="connsiteY3" fmla="*/ 2728503 h 4566615"/>
              <a:gd name="connsiteX4" fmla="*/ 0 w 1894629"/>
              <a:gd name="connsiteY4" fmla="*/ 1010044 h 4566615"/>
              <a:gd name="connsiteX0" fmla="*/ 0 w 3204472"/>
              <a:gd name="connsiteY0" fmla="*/ 1010044 h 4590793"/>
              <a:gd name="connsiteX1" fmla="*/ 1887646 w 3204472"/>
              <a:gd name="connsiteY1" fmla="*/ 0 h 4590793"/>
              <a:gd name="connsiteX2" fmla="*/ 3204465 w 3204472"/>
              <a:gd name="connsiteY2" fmla="*/ 4590793 h 4590793"/>
              <a:gd name="connsiteX3" fmla="*/ 913720 w 3204472"/>
              <a:gd name="connsiteY3" fmla="*/ 2728503 h 4590793"/>
              <a:gd name="connsiteX4" fmla="*/ 0 w 3204472"/>
              <a:gd name="connsiteY4" fmla="*/ 1010044 h 4590793"/>
              <a:gd name="connsiteX0" fmla="*/ 578462 w 3782934"/>
              <a:gd name="connsiteY0" fmla="*/ 1010044 h 6580607"/>
              <a:gd name="connsiteX1" fmla="*/ 2466108 w 3782934"/>
              <a:gd name="connsiteY1" fmla="*/ 0 h 6580607"/>
              <a:gd name="connsiteX2" fmla="*/ 3782927 w 3782934"/>
              <a:gd name="connsiteY2" fmla="*/ 4590793 h 6580607"/>
              <a:gd name="connsiteX3" fmla="*/ 0 w 3782934"/>
              <a:gd name="connsiteY3" fmla="*/ 6580607 h 6580607"/>
              <a:gd name="connsiteX4" fmla="*/ 578462 w 3782934"/>
              <a:gd name="connsiteY4" fmla="*/ 1010044 h 6580607"/>
              <a:gd name="connsiteX0" fmla="*/ 0 w 5521011"/>
              <a:gd name="connsiteY0" fmla="*/ 5372719 h 6580607"/>
              <a:gd name="connsiteX1" fmla="*/ 4204185 w 5521011"/>
              <a:gd name="connsiteY1" fmla="*/ 0 h 6580607"/>
              <a:gd name="connsiteX2" fmla="*/ 5521004 w 5521011"/>
              <a:gd name="connsiteY2" fmla="*/ 4590793 h 6580607"/>
              <a:gd name="connsiteX3" fmla="*/ 1738077 w 5521011"/>
              <a:gd name="connsiteY3" fmla="*/ 6580607 h 6580607"/>
              <a:gd name="connsiteX4" fmla="*/ 0 w 5521011"/>
              <a:gd name="connsiteY4" fmla="*/ 5372719 h 6580607"/>
              <a:gd name="connsiteX0" fmla="*/ 0 w 5521011"/>
              <a:gd name="connsiteY0" fmla="*/ 1661162 h 2869050"/>
              <a:gd name="connsiteX1" fmla="*/ 4335211 w 5521011"/>
              <a:gd name="connsiteY1" fmla="*/ 0 h 2869050"/>
              <a:gd name="connsiteX2" fmla="*/ 5521004 w 5521011"/>
              <a:gd name="connsiteY2" fmla="*/ 879236 h 2869050"/>
              <a:gd name="connsiteX3" fmla="*/ 1738077 w 5521011"/>
              <a:gd name="connsiteY3" fmla="*/ 2869050 h 2869050"/>
              <a:gd name="connsiteX4" fmla="*/ 0 w 5521011"/>
              <a:gd name="connsiteY4" fmla="*/ 1661162 h 2869050"/>
              <a:gd name="connsiteX0" fmla="*/ 0 w 5521011"/>
              <a:gd name="connsiteY0" fmla="*/ 1828306 h 3036194"/>
              <a:gd name="connsiteX1" fmla="*/ 4335211 w 5521011"/>
              <a:gd name="connsiteY1" fmla="*/ 167144 h 3036194"/>
              <a:gd name="connsiteX2" fmla="*/ 5521004 w 5521011"/>
              <a:gd name="connsiteY2" fmla="*/ 1046380 h 3036194"/>
              <a:gd name="connsiteX3" fmla="*/ 1738077 w 5521011"/>
              <a:gd name="connsiteY3" fmla="*/ 3036194 h 3036194"/>
              <a:gd name="connsiteX4" fmla="*/ 0 w 5521011"/>
              <a:gd name="connsiteY4" fmla="*/ 1828306 h 3036194"/>
              <a:gd name="connsiteX0" fmla="*/ 0 w 5521004"/>
              <a:gd name="connsiteY0" fmla="*/ 781926 h 1989814"/>
              <a:gd name="connsiteX1" fmla="*/ 5521004 w 5521004"/>
              <a:gd name="connsiteY1" fmla="*/ 0 h 1989814"/>
              <a:gd name="connsiteX2" fmla="*/ 1738077 w 5521004"/>
              <a:gd name="connsiteY2" fmla="*/ 1989814 h 1989814"/>
              <a:gd name="connsiteX3" fmla="*/ 0 w 5521004"/>
              <a:gd name="connsiteY3" fmla="*/ 781926 h 1989814"/>
              <a:gd name="connsiteX0" fmla="*/ 0 w 5521004"/>
              <a:gd name="connsiteY0" fmla="*/ 781926 h 1855634"/>
              <a:gd name="connsiteX1" fmla="*/ 5521004 w 5521004"/>
              <a:gd name="connsiteY1" fmla="*/ 0 h 1855634"/>
              <a:gd name="connsiteX2" fmla="*/ 1967785 w 5521004"/>
              <a:gd name="connsiteY2" fmla="*/ 1855634 h 1855634"/>
              <a:gd name="connsiteX3" fmla="*/ 0 w 5521004"/>
              <a:gd name="connsiteY3" fmla="*/ 781926 h 1855634"/>
              <a:gd name="connsiteX0" fmla="*/ 0 w 3587078"/>
              <a:gd name="connsiteY0" fmla="*/ 0 h 2101995"/>
              <a:gd name="connsiteX1" fmla="*/ 3587078 w 3587078"/>
              <a:gd name="connsiteY1" fmla="*/ 246361 h 2101995"/>
              <a:gd name="connsiteX2" fmla="*/ 33859 w 3587078"/>
              <a:gd name="connsiteY2" fmla="*/ 2101995 h 2101995"/>
              <a:gd name="connsiteX3" fmla="*/ 0 w 3587078"/>
              <a:gd name="connsiteY3" fmla="*/ 0 h 2101995"/>
              <a:gd name="connsiteX0" fmla="*/ 0 w 3587078"/>
              <a:gd name="connsiteY0" fmla="*/ 0 h 2115780"/>
              <a:gd name="connsiteX1" fmla="*/ 3587078 w 3587078"/>
              <a:gd name="connsiteY1" fmla="*/ 246361 h 2115780"/>
              <a:gd name="connsiteX2" fmla="*/ 53230 w 3587078"/>
              <a:gd name="connsiteY2" fmla="*/ 2115780 h 2115780"/>
              <a:gd name="connsiteX3" fmla="*/ 0 w 3587078"/>
              <a:gd name="connsiteY3" fmla="*/ 0 h 2115780"/>
              <a:gd name="connsiteX0" fmla="*/ 0 w 3587078"/>
              <a:gd name="connsiteY0" fmla="*/ 0 h 2115780"/>
              <a:gd name="connsiteX1" fmla="*/ 3587078 w 3587078"/>
              <a:gd name="connsiteY1" fmla="*/ 246361 h 2115780"/>
              <a:gd name="connsiteX2" fmla="*/ 53230 w 3587078"/>
              <a:gd name="connsiteY2" fmla="*/ 2115780 h 2115780"/>
              <a:gd name="connsiteX3" fmla="*/ 13150 w 3587078"/>
              <a:gd name="connsiteY3" fmla="*/ 557376 h 2115780"/>
              <a:gd name="connsiteX4" fmla="*/ 0 w 3587078"/>
              <a:gd name="connsiteY4" fmla="*/ 0 h 2115780"/>
              <a:gd name="connsiteX0" fmla="*/ 690858 w 4277936"/>
              <a:gd name="connsiteY0" fmla="*/ 0 h 2115780"/>
              <a:gd name="connsiteX1" fmla="*/ 4277936 w 4277936"/>
              <a:gd name="connsiteY1" fmla="*/ 246361 h 2115780"/>
              <a:gd name="connsiteX2" fmla="*/ 744088 w 4277936"/>
              <a:gd name="connsiteY2" fmla="*/ 2115780 h 2115780"/>
              <a:gd name="connsiteX3" fmla="*/ 0 w 4277936"/>
              <a:gd name="connsiteY3" fmla="*/ 365724 h 2115780"/>
              <a:gd name="connsiteX4" fmla="*/ 690858 w 4277936"/>
              <a:gd name="connsiteY4" fmla="*/ 0 h 2115780"/>
              <a:gd name="connsiteX0" fmla="*/ 690858 w 4277936"/>
              <a:gd name="connsiteY0" fmla="*/ 0 h 2059681"/>
              <a:gd name="connsiteX1" fmla="*/ 4277936 w 4277936"/>
              <a:gd name="connsiteY1" fmla="*/ 246361 h 2059681"/>
              <a:gd name="connsiteX2" fmla="*/ 894891 w 4277936"/>
              <a:gd name="connsiteY2" fmla="*/ 2059681 h 2059681"/>
              <a:gd name="connsiteX3" fmla="*/ 0 w 4277936"/>
              <a:gd name="connsiteY3" fmla="*/ 365724 h 2059681"/>
              <a:gd name="connsiteX4" fmla="*/ 690858 w 4277936"/>
              <a:gd name="connsiteY4" fmla="*/ 0 h 2059681"/>
              <a:gd name="connsiteX0" fmla="*/ 690858 w 4277936"/>
              <a:gd name="connsiteY0" fmla="*/ 0 h 2048037"/>
              <a:gd name="connsiteX1" fmla="*/ 4277936 w 4277936"/>
              <a:gd name="connsiteY1" fmla="*/ 246361 h 2048037"/>
              <a:gd name="connsiteX2" fmla="*/ 878527 w 4277936"/>
              <a:gd name="connsiteY2" fmla="*/ 2048037 h 2048037"/>
              <a:gd name="connsiteX3" fmla="*/ 0 w 4277936"/>
              <a:gd name="connsiteY3" fmla="*/ 365724 h 2048037"/>
              <a:gd name="connsiteX4" fmla="*/ 690858 w 4277936"/>
              <a:gd name="connsiteY4" fmla="*/ 0 h 2048037"/>
              <a:gd name="connsiteX0" fmla="*/ 902184 w 4489262"/>
              <a:gd name="connsiteY0" fmla="*/ 50852 h 2098889"/>
              <a:gd name="connsiteX1" fmla="*/ 4489262 w 4489262"/>
              <a:gd name="connsiteY1" fmla="*/ 297213 h 2098889"/>
              <a:gd name="connsiteX2" fmla="*/ 1089853 w 4489262"/>
              <a:gd name="connsiteY2" fmla="*/ 2098889 h 2098889"/>
              <a:gd name="connsiteX3" fmla="*/ 0 w 4489262"/>
              <a:gd name="connsiteY3" fmla="*/ 0 h 2098889"/>
              <a:gd name="connsiteX4" fmla="*/ 902184 w 4489262"/>
              <a:gd name="connsiteY4" fmla="*/ 50852 h 2098889"/>
              <a:gd name="connsiteX0" fmla="*/ 938623 w 4525701"/>
              <a:gd name="connsiteY0" fmla="*/ 61993 h 2110030"/>
              <a:gd name="connsiteX1" fmla="*/ 4525701 w 4525701"/>
              <a:gd name="connsiteY1" fmla="*/ 308354 h 2110030"/>
              <a:gd name="connsiteX2" fmla="*/ 1126292 w 4525701"/>
              <a:gd name="connsiteY2" fmla="*/ 2110030 h 2110030"/>
              <a:gd name="connsiteX3" fmla="*/ 0 w 4525701"/>
              <a:gd name="connsiteY3" fmla="*/ 0 h 2110030"/>
              <a:gd name="connsiteX4" fmla="*/ 938623 w 4525701"/>
              <a:gd name="connsiteY4" fmla="*/ 61993 h 2110030"/>
              <a:gd name="connsiteX0" fmla="*/ 938623 w 4525701"/>
              <a:gd name="connsiteY0" fmla="*/ 136356 h 2184393"/>
              <a:gd name="connsiteX1" fmla="*/ 4525701 w 4525701"/>
              <a:gd name="connsiteY1" fmla="*/ 382717 h 2184393"/>
              <a:gd name="connsiteX2" fmla="*/ 1126292 w 4525701"/>
              <a:gd name="connsiteY2" fmla="*/ 2184393 h 2184393"/>
              <a:gd name="connsiteX3" fmla="*/ 0 w 4525701"/>
              <a:gd name="connsiteY3" fmla="*/ 74363 h 2184393"/>
              <a:gd name="connsiteX4" fmla="*/ 823172 w 4525701"/>
              <a:gd name="connsiteY4" fmla="*/ 2869 h 2184393"/>
              <a:gd name="connsiteX5" fmla="*/ 938623 w 4525701"/>
              <a:gd name="connsiteY5" fmla="*/ 136356 h 2184393"/>
              <a:gd name="connsiteX0" fmla="*/ 941524 w 4528602"/>
              <a:gd name="connsiteY0" fmla="*/ 209269 h 2257306"/>
              <a:gd name="connsiteX1" fmla="*/ 4528602 w 4528602"/>
              <a:gd name="connsiteY1" fmla="*/ 455630 h 2257306"/>
              <a:gd name="connsiteX2" fmla="*/ 1129193 w 4528602"/>
              <a:gd name="connsiteY2" fmla="*/ 2257306 h 2257306"/>
              <a:gd name="connsiteX3" fmla="*/ 2901 w 4528602"/>
              <a:gd name="connsiteY3" fmla="*/ 147276 h 2257306"/>
              <a:gd name="connsiteX4" fmla="*/ 941524 w 4528602"/>
              <a:gd name="connsiteY4" fmla="*/ 209269 h 2257306"/>
              <a:gd name="connsiteX0" fmla="*/ 931693 w 4528713"/>
              <a:gd name="connsiteY0" fmla="*/ 153942 h 2278068"/>
              <a:gd name="connsiteX1" fmla="*/ 4528713 w 4528713"/>
              <a:gd name="connsiteY1" fmla="*/ 476392 h 2278068"/>
              <a:gd name="connsiteX2" fmla="*/ 1129304 w 4528713"/>
              <a:gd name="connsiteY2" fmla="*/ 2278068 h 2278068"/>
              <a:gd name="connsiteX3" fmla="*/ 3012 w 4528713"/>
              <a:gd name="connsiteY3" fmla="*/ 168038 h 2278068"/>
              <a:gd name="connsiteX4" fmla="*/ 931693 w 4528713"/>
              <a:gd name="connsiteY4" fmla="*/ 153942 h 2278068"/>
              <a:gd name="connsiteX0" fmla="*/ 0 w 3597020"/>
              <a:gd name="connsiteY0" fmla="*/ 0 h 2124126"/>
              <a:gd name="connsiteX1" fmla="*/ 3597020 w 3597020"/>
              <a:gd name="connsiteY1" fmla="*/ 322450 h 2124126"/>
              <a:gd name="connsiteX2" fmla="*/ 197611 w 3597020"/>
              <a:gd name="connsiteY2" fmla="*/ 2124126 h 2124126"/>
              <a:gd name="connsiteX3" fmla="*/ 0 w 3597020"/>
              <a:gd name="connsiteY3" fmla="*/ 0 h 2124126"/>
              <a:gd name="connsiteX0" fmla="*/ 0 w 4527267"/>
              <a:gd name="connsiteY0" fmla="*/ 0 h 2209305"/>
              <a:gd name="connsiteX1" fmla="*/ 4527267 w 4527267"/>
              <a:gd name="connsiteY1" fmla="*/ 407629 h 2209305"/>
              <a:gd name="connsiteX2" fmla="*/ 1127858 w 4527267"/>
              <a:gd name="connsiteY2" fmla="*/ 2209305 h 2209305"/>
              <a:gd name="connsiteX3" fmla="*/ 0 w 4527267"/>
              <a:gd name="connsiteY3" fmla="*/ 0 h 2209305"/>
              <a:gd name="connsiteX0" fmla="*/ 0 w 4552062"/>
              <a:gd name="connsiteY0" fmla="*/ 0 h 2236809"/>
              <a:gd name="connsiteX1" fmla="*/ 4552062 w 4552062"/>
              <a:gd name="connsiteY1" fmla="*/ 435133 h 2236809"/>
              <a:gd name="connsiteX2" fmla="*/ 1152653 w 4552062"/>
              <a:gd name="connsiteY2" fmla="*/ 2236809 h 2236809"/>
              <a:gd name="connsiteX3" fmla="*/ 0 w 4552062"/>
              <a:gd name="connsiteY3" fmla="*/ 0 h 2236809"/>
              <a:gd name="connsiteX0" fmla="*/ 0 w 4552062"/>
              <a:gd name="connsiteY0" fmla="*/ 0 h 2211008"/>
              <a:gd name="connsiteX1" fmla="*/ 4552062 w 4552062"/>
              <a:gd name="connsiteY1" fmla="*/ 435133 h 2211008"/>
              <a:gd name="connsiteX2" fmla="*/ 1220309 w 4552062"/>
              <a:gd name="connsiteY2" fmla="*/ 2211008 h 2211008"/>
              <a:gd name="connsiteX3" fmla="*/ 0 w 4552062"/>
              <a:gd name="connsiteY3" fmla="*/ 0 h 2211008"/>
              <a:gd name="connsiteX0" fmla="*/ 0 w 4528272"/>
              <a:gd name="connsiteY0" fmla="*/ 0 h 2223658"/>
              <a:gd name="connsiteX1" fmla="*/ 4528272 w 4528272"/>
              <a:gd name="connsiteY1" fmla="*/ 447783 h 2223658"/>
              <a:gd name="connsiteX2" fmla="*/ 1196519 w 4528272"/>
              <a:gd name="connsiteY2" fmla="*/ 2223658 h 2223658"/>
              <a:gd name="connsiteX3" fmla="*/ 0 w 4528272"/>
              <a:gd name="connsiteY3" fmla="*/ 0 h 2223658"/>
              <a:gd name="connsiteX0" fmla="*/ 0 w 4034019"/>
              <a:gd name="connsiteY0" fmla="*/ 0 h 2178620"/>
              <a:gd name="connsiteX1" fmla="*/ 4034019 w 4034019"/>
              <a:gd name="connsiteY1" fmla="*/ 402745 h 2178620"/>
              <a:gd name="connsiteX2" fmla="*/ 702266 w 4034019"/>
              <a:gd name="connsiteY2" fmla="*/ 2178620 h 2178620"/>
              <a:gd name="connsiteX3" fmla="*/ 0 w 4034019"/>
              <a:gd name="connsiteY3" fmla="*/ 0 h 2178620"/>
              <a:gd name="connsiteX0" fmla="*/ 0 w 4034019"/>
              <a:gd name="connsiteY0" fmla="*/ 0 h 1984092"/>
              <a:gd name="connsiteX1" fmla="*/ 4034019 w 4034019"/>
              <a:gd name="connsiteY1" fmla="*/ 402745 h 1984092"/>
              <a:gd name="connsiteX2" fmla="*/ 1052038 w 4034019"/>
              <a:gd name="connsiteY2" fmla="*/ 1984092 h 1984092"/>
              <a:gd name="connsiteX3" fmla="*/ 0 w 4034019"/>
              <a:gd name="connsiteY3" fmla="*/ 0 h 1984092"/>
            </a:gdLst>
            <a:ahLst/>
            <a:cxnLst>
              <a:cxn ang="0">
                <a:pos x="connsiteX0" y="connsiteY0"/>
              </a:cxn>
              <a:cxn ang="0">
                <a:pos x="connsiteX1" y="connsiteY1"/>
              </a:cxn>
              <a:cxn ang="0">
                <a:pos x="connsiteX2" y="connsiteY2"/>
              </a:cxn>
              <a:cxn ang="0">
                <a:pos x="connsiteX3" y="connsiteY3"/>
              </a:cxn>
            </a:cxnLst>
            <a:rect l="l" t="t" r="r" b="b"/>
            <a:pathLst>
              <a:path w="4034019" h="1984092">
                <a:moveTo>
                  <a:pt x="0" y="0"/>
                </a:moveTo>
                <a:lnTo>
                  <a:pt x="4034019" y="402745"/>
                </a:lnTo>
                <a:lnTo>
                  <a:pt x="1052038" y="198409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Picture Placeholder 7"/>
          <p:cNvSpPr>
            <a:spLocks noGrp="1"/>
          </p:cNvSpPr>
          <p:nvPr>
            <p:ph type="pic" sz="quarter" idx="13"/>
          </p:nvPr>
        </p:nvSpPr>
        <p:spPr>
          <a:xfrm>
            <a:off x="3901440" y="1955321"/>
            <a:ext cx="8290560" cy="4913312"/>
          </a:xfrm>
          <a:prstGeom prst="rect">
            <a:avLst/>
          </a:prstGeom>
          <a:noFill/>
        </p:spPr>
        <p:txBody>
          <a:bodyPr anchor="ctr"/>
          <a:lstStyle>
            <a:lvl1pPr algn="ctr">
              <a:buNone/>
              <a:defRPr sz="1600">
                <a:solidFill>
                  <a:schemeClr val="bg1"/>
                </a:solidFill>
              </a:defRPr>
            </a:lvl1pPr>
          </a:lstStyle>
          <a:p>
            <a:endParaRPr lang="en-US" dirty="0"/>
          </a:p>
        </p:txBody>
      </p:sp>
      <p:sp>
        <p:nvSpPr>
          <p:cNvPr id="2" name="Title 1"/>
          <p:cNvSpPr>
            <a:spLocks noGrp="1"/>
          </p:cNvSpPr>
          <p:nvPr>
            <p:ph type="ctrTitle"/>
          </p:nvPr>
        </p:nvSpPr>
        <p:spPr>
          <a:xfrm>
            <a:off x="613833" y="2268449"/>
            <a:ext cx="6298800" cy="417602"/>
          </a:xfrm>
          <a:custGeom>
            <a:avLst/>
            <a:gdLst>
              <a:gd name="connsiteX0" fmla="*/ 0 w 4724100"/>
              <a:gd name="connsiteY0" fmla="*/ 0 h 1470025"/>
              <a:gd name="connsiteX1" fmla="*/ 4724100 w 4724100"/>
              <a:gd name="connsiteY1" fmla="*/ 0 h 1470025"/>
              <a:gd name="connsiteX2" fmla="*/ 4724100 w 4724100"/>
              <a:gd name="connsiteY2" fmla="*/ 1470025 h 1470025"/>
              <a:gd name="connsiteX3" fmla="*/ 0 w 4724100"/>
              <a:gd name="connsiteY3" fmla="*/ 1470025 h 1470025"/>
              <a:gd name="connsiteX4" fmla="*/ 0 w 4724100"/>
              <a:gd name="connsiteY4" fmla="*/ 0 h 147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4100" h="1470025">
                <a:moveTo>
                  <a:pt x="0" y="0"/>
                </a:moveTo>
                <a:lnTo>
                  <a:pt x="4724100" y="0"/>
                </a:lnTo>
                <a:lnTo>
                  <a:pt x="4724100" y="1470025"/>
                </a:lnTo>
                <a:lnTo>
                  <a:pt x="0" y="1470025"/>
                </a:lnTo>
                <a:lnTo>
                  <a:pt x="0" y="0"/>
                </a:lnTo>
                <a:close/>
              </a:path>
            </a:pathLst>
          </a:custGeom>
        </p:spPr>
        <p:txBody>
          <a:bodyPr lIns="0" tIns="0" rIns="0" bIns="0"/>
          <a:lstStyle>
            <a:lvl1pPr algn="l">
              <a:defRPr sz="240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13833" y="2749849"/>
            <a:ext cx="5486400" cy="677565"/>
          </a:xfrm>
          <a:prstGeom prst="rect">
            <a:avLst/>
          </a:prstGeom>
        </p:spPr>
        <p:txBody>
          <a:bodyPr lIns="0" tIns="0" rIns="0" bIns="0"/>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8" name="Freeform 7"/>
          <p:cNvSpPr/>
          <p:nvPr userDrawn="1"/>
        </p:nvSpPr>
        <p:spPr>
          <a:xfrm rot="1301007">
            <a:off x="-538824" y="131584"/>
            <a:ext cx="8399200" cy="7890453"/>
          </a:xfrm>
          <a:custGeom>
            <a:avLst/>
            <a:gdLst>
              <a:gd name="connsiteX0" fmla="*/ 0 w 431321"/>
              <a:gd name="connsiteY0" fmla="*/ 0 h 3278038"/>
              <a:gd name="connsiteX1" fmla="*/ 431321 w 431321"/>
              <a:gd name="connsiteY1" fmla="*/ 0 h 3278038"/>
              <a:gd name="connsiteX2" fmla="*/ 431321 w 431321"/>
              <a:gd name="connsiteY2" fmla="*/ 3278038 h 3278038"/>
              <a:gd name="connsiteX3" fmla="*/ 0 w 431321"/>
              <a:gd name="connsiteY3" fmla="*/ 3278038 h 3278038"/>
              <a:gd name="connsiteX4" fmla="*/ 0 w 431321"/>
              <a:gd name="connsiteY4" fmla="*/ 0 h 3278038"/>
              <a:gd name="connsiteX0" fmla="*/ 0 w 1952909"/>
              <a:gd name="connsiteY0" fmla="*/ 1033753 h 3278038"/>
              <a:gd name="connsiteX1" fmla="*/ 1952909 w 1952909"/>
              <a:gd name="connsiteY1" fmla="*/ 0 h 3278038"/>
              <a:gd name="connsiteX2" fmla="*/ 1952909 w 1952909"/>
              <a:gd name="connsiteY2" fmla="*/ 3278038 h 3278038"/>
              <a:gd name="connsiteX3" fmla="*/ 1521588 w 1952909"/>
              <a:gd name="connsiteY3" fmla="*/ 3278038 h 3278038"/>
              <a:gd name="connsiteX4" fmla="*/ 0 w 1952909"/>
              <a:gd name="connsiteY4" fmla="*/ 1033753 h 3278038"/>
              <a:gd name="connsiteX0" fmla="*/ 0 w 3541702"/>
              <a:gd name="connsiteY0" fmla="*/ 1888300 h 3278038"/>
              <a:gd name="connsiteX1" fmla="*/ 3541702 w 3541702"/>
              <a:gd name="connsiteY1" fmla="*/ 0 h 3278038"/>
              <a:gd name="connsiteX2" fmla="*/ 3541702 w 3541702"/>
              <a:gd name="connsiteY2" fmla="*/ 3278038 h 3278038"/>
              <a:gd name="connsiteX3" fmla="*/ 3110381 w 3541702"/>
              <a:gd name="connsiteY3" fmla="*/ 3278038 h 3278038"/>
              <a:gd name="connsiteX4" fmla="*/ 0 w 3541702"/>
              <a:gd name="connsiteY4" fmla="*/ 1888300 h 3278038"/>
              <a:gd name="connsiteX0" fmla="*/ 0 w 3541702"/>
              <a:gd name="connsiteY0" fmla="*/ 1888300 h 5723271"/>
              <a:gd name="connsiteX1" fmla="*/ 3541702 w 3541702"/>
              <a:gd name="connsiteY1" fmla="*/ 0 h 5723271"/>
              <a:gd name="connsiteX2" fmla="*/ 3541702 w 3541702"/>
              <a:gd name="connsiteY2" fmla="*/ 3278038 h 5723271"/>
              <a:gd name="connsiteX3" fmla="*/ 2039089 w 3541702"/>
              <a:gd name="connsiteY3" fmla="*/ 5723271 h 5723271"/>
              <a:gd name="connsiteX4" fmla="*/ 0 w 3541702"/>
              <a:gd name="connsiteY4" fmla="*/ 1888300 h 5723271"/>
              <a:gd name="connsiteX0" fmla="*/ 0 w 3541702"/>
              <a:gd name="connsiteY0" fmla="*/ 1888300 h 5723271"/>
              <a:gd name="connsiteX1" fmla="*/ 3541702 w 3541702"/>
              <a:gd name="connsiteY1" fmla="*/ 0 h 5723271"/>
              <a:gd name="connsiteX2" fmla="*/ 3530999 w 3541702"/>
              <a:gd name="connsiteY2" fmla="*/ 4930010 h 5723271"/>
              <a:gd name="connsiteX3" fmla="*/ 2039089 w 3541702"/>
              <a:gd name="connsiteY3" fmla="*/ 5723271 h 5723271"/>
              <a:gd name="connsiteX4" fmla="*/ 0 w 3541702"/>
              <a:gd name="connsiteY4" fmla="*/ 1888300 h 5723271"/>
              <a:gd name="connsiteX0" fmla="*/ 0 w 5020365"/>
              <a:gd name="connsiteY0" fmla="*/ 2673844 h 5723271"/>
              <a:gd name="connsiteX1" fmla="*/ 5020365 w 5020365"/>
              <a:gd name="connsiteY1" fmla="*/ 0 h 5723271"/>
              <a:gd name="connsiteX2" fmla="*/ 5009662 w 5020365"/>
              <a:gd name="connsiteY2" fmla="*/ 4930010 h 5723271"/>
              <a:gd name="connsiteX3" fmla="*/ 3517752 w 5020365"/>
              <a:gd name="connsiteY3" fmla="*/ 5723271 h 5723271"/>
              <a:gd name="connsiteX4" fmla="*/ 0 w 5020365"/>
              <a:gd name="connsiteY4" fmla="*/ 2673844 h 5723271"/>
              <a:gd name="connsiteX0" fmla="*/ 0 w 5020365"/>
              <a:gd name="connsiteY0" fmla="*/ 2673844 h 7012041"/>
              <a:gd name="connsiteX1" fmla="*/ 5020365 w 5020365"/>
              <a:gd name="connsiteY1" fmla="*/ 0 h 7012041"/>
              <a:gd name="connsiteX2" fmla="*/ 5009662 w 5020365"/>
              <a:gd name="connsiteY2" fmla="*/ 4930010 h 7012041"/>
              <a:gd name="connsiteX3" fmla="*/ 2306660 w 5020365"/>
              <a:gd name="connsiteY3" fmla="*/ 7012041 h 7012041"/>
              <a:gd name="connsiteX4" fmla="*/ 0 w 5020365"/>
              <a:gd name="connsiteY4" fmla="*/ 2673844 h 7012041"/>
              <a:gd name="connsiteX0" fmla="*/ 0 w 5021554"/>
              <a:gd name="connsiteY0" fmla="*/ 2673844 h 7012041"/>
              <a:gd name="connsiteX1" fmla="*/ 5020365 w 5021554"/>
              <a:gd name="connsiteY1" fmla="*/ 0 h 7012041"/>
              <a:gd name="connsiteX2" fmla="*/ 5017986 w 5021554"/>
              <a:gd name="connsiteY2" fmla="*/ 5570404 h 7012041"/>
              <a:gd name="connsiteX3" fmla="*/ 2306660 w 5021554"/>
              <a:gd name="connsiteY3" fmla="*/ 7012041 h 7012041"/>
              <a:gd name="connsiteX4" fmla="*/ 0 w 5021554"/>
              <a:gd name="connsiteY4" fmla="*/ 2673844 h 7012041"/>
              <a:gd name="connsiteX0" fmla="*/ 0 w 5850422"/>
              <a:gd name="connsiteY0" fmla="*/ 3114561 h 7012041"/>
              <a:gd name="connsiteX1" fmla="*/ 5849233 w 5850422"/>
              <a:gd name="connsiteY1" fmla="*/ 0 h 7012041"/>
              <a:gd name="connsiteX2" fmla="*/ 5846854 w 5850422"/>
              <a:gd name="connsiteY2" fmla="*/ 5570404 h 7012041"/>
              <a:gd name="connsiteX3" fmla="*/ 3135528 w 5850422"/>
              <a:gd name="connsiteY3" fmla="*/ 7012041 h 7012041"/>
              <a:gd name="connsiteX4" fmla="*/ 0 w 5850422"/>
              <a:gd name="connsiteY4" fmla="*/ 3114561 h 7012041"/>
              <a:gd name="connsiteX0" fmla="*/ 0 w 5850422"/>
              <a:gd name="connsiteY0" fmla="*/ 3114561 h 7452758"/>
              <a:gd name="connsiteX1" fmla="*/ 5849233 w 5850422"/>
              <a:gd name="connsiteY1" fmla="*/ 0 h 7452758"/>
              <a:gd name="connsiteX2" fmla="*/ 5846854 w 5850422"/>
              <a:gd name="connsiteY2" fmla="*/ 5570404 h 7452758"/>
              <a:gd name="connsiteX3" fmla="*/ 2306661 w 5850422"/>
              <a:gd name="connsiteY3" fmla="*/ 7452758 h 7452758"/>
              <a:gd name="connsiteX4" fmla="*/ 0 w 5850422"/>
              <a:gd name="connsiteY4" fmla="*/ 3114561 h 7452758"/>
              <a:gd name="connsiteX0" fmla="*/ 0 w 5852288"/>
              <a:gd name="connsiteY0" fmla="*/ 3114561 h 7452758"/>
              <a:gd name="connsiteX1" fmla="*/ 5849233 w 5852288"/>
              <a:gd name="connsiteY1" fmla="*/ 0 h 7452758"/>
              <a:gd name="connsiteX2" fmla="*/ 5851462 w 5852288"/>
              <a:gd name="connsiteY2" fmla="*/ 4216333 h 7452758"/>
              <a:gd name="connsiteX3" fmla="*/ 2306661 w 5852288"/>
              <a:gd name="connsiteY3" fmla="*/ 7452758 h 7452758"/>
              <a:gd name="connsiteX4" fmla="*/ 0 w 5852288"/>
              <a:gd name="connsiteY4" fmla="*/ 3114561 h 7452758"/>
              <a:gd name="connsiteX0" fmla="*/ 0 w 5852288"/>
              <a:gd name="connsiteY0" fmla="*/ 3114561 h 6302739"/>
              <a:gd name="connsiteX1" fmla="*/ 5849233 w 5852288"/>
              <a:gd name="connsiteY1" fmla="*/ 0 h 6302739"/>
              <a:gd name="connsiteX2" fmla="*/ 5851462 w 5852288"/>
              <a:gd name="connsiteY2" fmla="*/ 4216333 h 6302739"/>
              <a:gd name="connsiteX3" fmla="*/ 2073108 w 5852288"/>
              <a:gd name="connsiteY3" fmla="*/ 6302739 h 6302739"/>
              <a:gd name="connsiteX4" fmla="*/ 0 w 5852288"/>
              <a:gd name="connsiteY4" fmla="*/ 3114561 h 6302739"/>
              <a:gd name="connsiteX0" fmla="*/ 0 w 5852288"/>
              <a:gd name="connsiteY0" fmla="*/ 3114561 h 6315693"/>
              <a:gd name="connsiteX1" fmla="*/ 5849233 w 5852288"/>
              <a:gd name="connsiteY1" fmla="*/ 0 h 6315693"/>
              <a:gd name="connsiteX2" fmla="*/ 5851462 w 5852288"/>
              <a:gd name="connsiteY2" fmla="*/ 4216333 h 6315693"/>
              <a:gd name="connsiteX3" fmla="*/ 1901940 w 5852288"/>
              <a:gd name="connsiteY3" fmla="*/ 6315693 h 6315693"/>
              <a:gd name="connsiteX4" fmla="*/ 0 w 5852288"/>
              <a:gd name="connsiteY4" fmla="*/ 3114561 h 6315693"/>
              <a:gd name="connsiteX0" fmla="*/ 0 w 5037424"/>
              <a:gd name="connsiteY0" fmla="*/ 2692283 h 6315693"/>
              <a:gd name="connsiteX1" fmla="*/ 5034369 w 5037424"/>
              <a:gd name="connsiteY1" fmla="*/ 0 h 6315693"/>
              <a:gd name="connsiteX2" fmla="*/ 5036598 w 5037424"/>
              <a:gd name="connsiteY2" fmla="*/ 4216333 h 6315693"/>
              <a:gd name="connsiteX3" fmla="*/ 1087076 w 5037424"/>
              <a:gd name="connsiteY3" fmla="*/ 6315693 h 6315693"/>
              <a:gd name="connsiteX4" fmla="*/ 0 w 5037424"/>
              <a:gd name="connsiteY4" fmla="*/ 2692283 h 6315693"/>
              <a:gd name="connsiteX0" fmla="*/ 0 w 5042179"/>
              <a:gd name="connsiteY0" fmla="*/ 2692283 h 6315693"/>
              <a:gd name="connsiteX1" fmla="*/ 5034369 w 5042179"/>
              <a:gd name="connsiteY1" fmla="*/ 0 h 6315693"/>
              <a:gd name="connsiteX2" fmla="*/ 5041605 w 5042179"/>
              <a:gd name="connsiteY2" fmla="*/ 4233125 h 6315693"/>
              <a:gd name="connsiteX3" fmla="*/ 1087076 w 5042179"/>
              <a:gd name="connsiteY3" fmla="*/ 6315693 h 6315693"/>
              <a:gd name="connsiteX4" fmla="*/ 0 w 5042179"/>
              <a:gd name="connsiteY4" fmla="*/ 2692283 h 6315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2179" h="6315693">
                <a:moveTo>
                  <a:pt x="0" y="2692283"/>
                </a:moveTo>
                <a:lnTo>
                  <a:pt x="5034369" y="0"/>
                </a:lnTo>
                <a:cubicBezTo>
                  <a:pt x="5030801" y="1643337"/>
                  <a:pt x="5045173" y="2589788"/>
                  <a:pt x="5041605" y="4233125"/>
                </a:cubicBezTo>
                <a:lnTo>
                  <a:pt x="1087076" y="6315693"/>
                </a:lnTo>
                <a:lnTo>
                  <a:pt x="0" y="269228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2" name="Title 1"/>
          <p:cNvSpPr txBox="1">
            <a:spLocks/>
          </p:cNvSpPr>
          <p:nvPr userDrawn="1"/>
        </p:nvSpPr>
        <p:spPr>
          <a:xfrm>
            <a:off x="607131" y="2268449"/>
            <a:ext cx="4724100" cy="417602"/>
          </a:xfrm>
          <a:custGeom>
            <a:avLst/>
            <a:gdLst>
              <a:gd name="connsiteX0" fmla="*/ 0 w 4724100"/>
              <a:gd name="connsiteY0" fmla="*/ 0 h 1470025"/>
              <a:gd name="connsiteX1" fmla="*/ 4724100 w 4724100"/>
              <a:gd name="connsiteY1" fmla="*/ 0 h 1470025"/>
              <a:gd name="connsiteX2" fmla="*/ 4724100 w 4724100"/>
              <a:gd name="connsiteY2" fmla="*/ 1470025 h 1470025"/>
              <a:gd name="connsiteX3" fmla="*/ 0 w 4724100"/>
              <a:gd name="connsiteY3" fmla="*/ 1470025 h 1470025"/>
              <a:gd name="connsiteX4" fmla="*/ 0 w 4724100"/>
              <a:gd name="connsiteY4" fmla="*/ 0 h 147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4100" h="1470025">
                <a:moveTo>
                  <a:pt x="0" y="0"/>
                </a:moveTo>
                <a:lnTo>
                  <a:pt x="4724100" y="0"/>
                </a:lnTo>
                <a:lnTo>
                  <a:pt x="4724100" y="1470025"/>
                </a:lnTo>
                <a:lnTo>
                  <a:pt x="0" y="1470025"/>
                </a:lnTo>
                <a:lnTo>
                  <a:pt x="0" y="0"/>
                </a:lnTo>
                <a:close/>
              </a:path>
            </a:pathLst>
          </a:custGeom>
        </p:spPr>
        <p:txBody>
          <a:bodyPr lIns="0" tIns="0" rIns="0" bIns="0"/>
          <a:lstStyle>
            <a:lvl1pPr algn="l" defTabSz="914400" rtl="0" eaLnBrk="1" latinLnBrk="0" hangingPunct="1">
              <a:spcBef>
                <a:spcPct val="0"/>
              </a:spcBef>
              <a:buNone/>
              <a:defRPr sz="2400" kern="1200">
                <a:solidFill>
                  <a:schemeClr val="bg1"/>
                </a:solidFill>
                <a:latin typeface="+mj-lt"/>
                <a:ea typeface="+mj-ea"/>
                <a:cs typeface="+mj-cs"/>
              </a:defRPr>
            </a:lvl1pPr>
          </a:lstStyle>
          <a:p>
            <a:r>
              <a:rPr lang="en-US" dirty="0" smtClean="0"/>
              <a:t>Click to edit Master title style</a:t>
            </a:r>
            <a:endParaRPr lang="en-US" dirty="0"/>
          </a:p>
        </p:txBody>
      </p:sp>
      <p:sp>
        <p:nvSpPr>
          <p:cNvPr id="13" name="Subtitle 2"/>
          <p:cNvSpPr txBox="1">
            <a:spLocks/>
          </p:cNvSpPr>
          <p:nvPr userDrawn="1"/>
        </p:nvSpPr>
        <p:spPr>
          <a:xfrm>
            <a:off x="607131" y="2749848"/>
            <a:ext cx="4114800" cy="677565"/>
          </a:xfrm>
          <a:prstGeom prst="rect">
            <a:avLst/>
          </a:prstGeom>
        </p:spPr>
        <p:txBody>
          <a:bodyPr lIns="0" tIns="0" rIns="0" bIns="0"/>
          <a:lstStyle>
            <a:lvl1pPr marL="0" indent="0" algn="l" defTabSz="914400" rtl="0" eaLnBrk="1" latinLnBrk="0" hangingPunct="1">
              <a:spcBef>
                <a:spcPct val="20000"/>
              </a:spcBef>
              <a:buFont typeface="Arial" pitchFamily="34" charset="0"/>
              <a:buNone/>
              <a:defRPr sz="1800" kern="1200">
                <a:solidFill>
                  <a:schemeClr val="bg1"/>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smtClean="0"/>
              <a:t>Click to edit Master subtitle style</a:t>
            </a:r>
            <a:endParaRPr lang="en-US" dirty="0"/>
          </a:p>
        </p:txBody>
      </p:sp>
    </p:spTree>
    <p:extLst>
      <p:ext uri="{BB962C8B-B14F-4D97-AF65-F5344CB8AC3E}">
        <p14:creationId xmlns:p14="http://schemas.microsoft.com/office/powerpoint/2010/main" val="277278842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Listing Feature">
    <p:spTree>
      <p:nvGrpSpPr>
        <p:cNvPr id="1" name=""/>
        <p:cNvGrpSpPr/>
        <p:nvPr/>
      </p:nvGrpSpPr>
      <p:grpSpPr>
        <a:xfrm>
          <a:off x="0" y="0"/>
          <a:ext cx="0" cy="0"/>
          <a:chOff x="0" y="0"/>
          <a:chExt cx="0" cy="0"/>
        </a:xfrm>
      </p:grpSpPr>
      <p:sp>
        <p:nvSpPr>
          <p:cNvPr id="26" name="Rectangle 25"/>
          <p:cNvSpPr/>
          <p:nvPr userDrawn="1"/>
        </p:nvSpPr>
        <p:spPr>
          <a:xfrm>
            <a:off x="688624" y="1367171"/>
            <a:ext cx="2514597" cy="2015837"/>
          </a:xfrm>
          <a:prstGeom prst="rect">
            <a:avLst/>
          </a:prstGeom>
          <a:solidFill>
            <a:srgbClr val="E5E7E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aseline="0" dirty="0"/>
          </a:p>
        </p:txBody>
      </p:sp>
      <p:sp>
        <p:nvSpPr>
          <p:cNvPr id="27" name="Picture Placeholder 2"/>
          <p:cNvSpPr>
            <a:spLocks noGrp="1"/>
          </p:cNvSpPr>
          <p:nvPr>
            <p:ph type="pic" sz="quarter" idx="35" hasCustomPrompt="1"/>
          </p:nvPr>
        </p:nvSpPr>
        <p:spPr>
          <a:xfrm>
            <a:off x="685803" y="1367170"/>
            <a:ext cx="2514597" cy="2015837"/>
          </a:xfrm>
          <a:prstGeom prst="rect">
            <a:avLst/>
          </a:prstGeom>
        </p:spPr>
        <p:txBody>
          <a:bodyPr/>
          <a:lstStyle>
            <a:lvl1pPr marL="0" indent="0">
              <a:buNone/>
              <a:defRPr sz="1600"/>
            </a:lvl1pPr>
          </a:lstStyle>
          <a:p>
            <a:r>
              <a:rPr lang="en-US" dirty="0" smtClean="0"/>
              <a:t>Image</a:t>
            </a:r>
            <a:endParaRPr lang="en-US" dirty="0"/>
          </a:p>
        </p:txBody>
      </p:sp>
      <p:sp>
        <p:nvSpPr>
          <p:cNvPr id="71" name="Text Placeholder 17"/>
          <p:cNvSpPr>
            <a:spLocks noGrp="1"/>
          </p:cNvSpPr>
          <p:nvPr>
            <p:ph type="body" sz="quarter" idx="59" hasCustomPrompt="1"/>
          </p:nvPr>
        </p:nvSpPr>
        <p:spPr>
          <a:xfrm>
            <a:off x="6770145" y="1526282"/>
            <a:ext cx="4674321" cy="1856725"/>
          </a:xfrm>
          <a:prstGeom prst="rect">
            <a:avLst/>
          </a:prstGeom>
        </p:spPr>
        <p:txBody>
          <a:bodyPr vert="horz" lIns="0" tIns="0" rIns="0" bIns="0"/>
          <a:lstStyle>
            <a:lvl1pPr marL="0" indent="-228600">
              <a:lnSpc>
                <a:spcPts val="2000"/>
              </a:lnSpc>
              <a:spcBef>
                <a:spcPts val="0"/>
              </a:spcBef>
              <a:buFontTx/>
              <a:buNone/>
              <a:defRPr sz="1400" kern="1200" cap="none" spc="0" baseline="0">
                <a:solidFill>
                  <a:srgbClr val="656869"/>
                </a:solidFill>
                <a:latin typeface="Georgia" panose="02040502050405020303" pitchFamily="18" charset="0"/>
              </a:defRPr>
            </a:lvl1pPr>
            <a:lvl2pPr>
              <a:spcBef>
                <a:spcPts val="0"/>
              </a:spcBef>
              <a:buFontTx/>
              <a:buNone/>
              <a:defRPr sz="2400" kern="1200" cap="all" spc="40" baseline="0">
                <a:solidFill>
                  <a:srgbClr val="565858"/>
                </a:solidFill>
                <a:latin typeface="GothamBold"/>
              </a:defRPr>
            </a:lvl2pPr>
            <a:lvl3pPr>
              <a:spcBef>
                <a:spcPts val="0"/>
              </a:spcBef>
              <a:buFontTx/>
              <a:buNone/>
              <a:defRPr sz="2400" kern="1200" cap="all" spc="40" baseline="0">
                <a:solidFill>
                  <a:srgbClr val="565858"/>
                </a:solidFill>
                <a:latin typeface="GothamBold"/>
              </a:defRPr>
            </a:lvl3pPr>
            <a:lvl4pPr>
              <a:spcBef>
                <a:spcPts val="0"/>
              </a:spcBef>
              <a:buFontTx/>
              <a:buNone/>
              <a:defRPr sz="2400" kern="1200" cap="all" spc="40" baseline="0">
                <a:solidFill>
                  <a:srgbClr val="565858"/>
                </a:solidFill>
                <a:latin typeface="GothamBold"/>
              </a:defRPr>
            </a:lvl4pPr>
            <a:lvl5pPr>
              <a:spcBef>
                <a:spcPts val="0"/>
              </a:spcBef>
              <a:buFontTx/>
              <a:buNone/>
              <a:defRPr sz="2400" kern="1200" cap="all" spc="40" baseline="0">
                <a:solidFill>
                  <a:srgbClr val="565858"/>
                </a:solidFill>
                <a:latin typeface="GothamBold"/>
              </a:defRPr>
            </a:lvl5pPr>
          </a:lstStyle>
          <a:p>
            <a:pPr lvl="0"/>
            <a:r>
              <a:rPr lang="en-US" dirty="0" smtClean="0"/>
              <a:t>“A </a:t>
            </a:r>
            <a:r>
              <a:rPr lang="en-US" dirty="0" err="1" smtClean="0"/>
              <a:t>tellus</a:t>
            </a:r>
            <a:r>
              <a:rPr lang="en-US" dirty="0" smtClean="0"/>
              <a:t> </a:t>
            </a:r>
            <a:r>
              <a:rPr lang="en-US" dirty="0" err="1" smtClean="0"/>
              <a:t>eget</a:t>
            </a:r>
            <a:r>
              <a:rPr lang="en-US" dirty="0" smtClean="0"/>
              <a:t> </a:t>
            </a:r>
            <a:r>
              <a:rPr lang="en-US" dirty="0" err="1" smtClean="0"/>
              <a:t>er</a:t>
            </a:r>
            <a:r>
              <a:rPr lang="en-US" dirty="0" smtClean="0"/>
              <a:t> </a:t>
            </a:r>
            <a:r>
              <a:rPr lang="en-US" dirty="0" err="1" smtClean="0"/>
              <a:t>bibendum</a:t>
            </a:r>
            <a:r>
              <a:rPr lang="en-US" dirty="0" smtClean="0"/>
              <a:t> </a:t>
            </a:r>
            <a:r>
              <a:rPr lang="en-US" dirty="0" err="1" smtClean="0"/>
              <a:t>tristique</a:t>
            </a:r>
            <a:r>
              <a:rPr lang="en-US" dirty="0" smtClean="0"/>
              <a:t>. </a:t>
            </a:r>
            <a:r>
              <a:rPr lang="en-US" dirty="0" err="1" smtClean="0"/>
              <a:t>Proin</a:t>
            </a:r>
            <a:r>
              <a:rPr lang="en-US" dirty="0" smtClean="0"/>
              <a:t> </a:t>
            </a:r>
            <a:r>
              <a:rPr lang="en-US" dirty="0" err="1" smtClean="0"/>
              <a:t>eros</a:t>
            </a:r>
            <a:r>
              <a:rPr lang="en-US" dirty="0" smtClean="0"/>
              <a:t> ante, </a:t>
            </a:r>
            <a:r>
              <a:rPr lang="en-US" dirty="0" err="1" smtClean="0"/>
              <a:t>consectgeetur</a:t>
            </a:r>
            <a:r>
              <a:rPr lang="en-US" dirty="0" smtClean="0"/>
              <a:t> </a:t>
            </a:r>
            <a:r>
              <a:rPr lang="en-US" dirty="0" err="1" smtClean="0"/>
              <a:t>eget</a:t>
            </a:r>
            <a:r>
              <a:rPr lang="en-US" dirty="0" smtClean="0"/>
              <a:t> semper </a:t>
            </a:r>
            <a:r>
              <a:rPr lang="en-US" dirty="0" err="1" smtClean="0"/>
              <a:t>arele</a:t>
            </a:r>
            <a:r>
              <a:rPr lang="en-US" dirty="0" smtClean="0"/>
              <a:t> non, </a:t>
            </a:r>
            <a:r>
              <a:rPr lang="en-US" dirty="0" err="1" smtClean="0"/>
              <a:t>aliquam</a:t>
            </a:r>
            <a:r>
              <a:rPr lang="en-US" dirty="0" smtClean="0"/>
              <a:t> </a:t>
            </a:r>
            <a:r>
              <a:rPr lang="en-US" dirty="0" err="1" smtClean="0"/>
              <a:t>nec</a:t>
            </a:r>
            <a:r>
              <a:rPr lang="en-US" dirty="0" smtClean="0"/>
              <a:t> quam. </a:t>
            </a:r>
            <a:r>
              <a:rPr lang="en-US" dirty="0" err="1" smtClean="0"/>
              <a:t>Suspendisse</a:t>
            </a:r>
            <a:r>
              <a:rPr lang="en-US" dirty="0" smtClean="0"/>
              <a:t> is ligula </a:t>
            </a:r>
            <a:r>
              <a:rPr lang="en-US" dirty="0" err="1" smtClean="0"/>
              <a:t>turpis</a:t>
            </a:r>
            <a:r>
              <a:rPr lang="en-US" dirty="0" smtClean="0"/>
              <a:t>, at </a:t>
            </a:r>
            <a:r>
              <a:rPr lang="en-US" dirty="0" err="1" smtClean="0"/>
              <a:t>molestie</a:t>
            </a:r>
            <a:r>
              <a:rPr lang="en-US" dirty="0" smtClean="0"/>
              <a:t> </a:t>
            </a:r>
            <a:r>
              <a:rPr lang="en-US" dirty="0" err="1" smtClean="0"/>
              <a:t>eu</a:t>
            </a:r>
            <a:r>
              <a:rPr lang="en-US" dirty="0" smtClean="0"/>
              <a:t> </a:t>
            </a:r>
            <a:r>
              <a:rPr lang="en-US" dirty="0" err="1" smtClean="0"/>
              <a:t>vestibulum</a:t>
            </a:r>
            <a:r>
              <a:rPr lang="en-US" dirty="0" smtClean="0"/>
              <a:t> </a:t>
            </a:r>
            <a:r>
              <a:rPr lang="en-US" dirty="0" err="1" smtClean="0"/>
              <a:t>quis</a:t>
            </a:r>
            <a:r>
              <a:rPr lang="en-US" dirty="0" smtClean="0"/>
              <a:t>, </a:t>
            </a:r>
            <a:r>
              <a:rPr lang="en-US" dirty="0" err="1" smtClean="0"/>
              <a:t>consectetur</a:t>
            </a:r>
            <a:r>
              <a:rPr lang="en-US" dirty="0" smtClean="0"/>
              <a:t> </a:t>
            </a:r>
            <a:r>
              <a:rPr lang="en-US" dirty="0" err="1" smtClean="0"/>
              <a:t>ut</a:t>
            </a:r>
            <a:r>
              <a:rPr lang="en-US" dirty="0" smtClean="0"/>
              <a:t> </a:t>
            </a:r>
            <a:r>
              <a:rPr lang="en-US" dirty="0" err="1" smtClean="0"/>
              <a:t>sapien</a:t>
            </a:r>
            <a:r>
              <a:rPr lang="en-US" dirty="0" smtClean="0"/>
              <a:t> </a:t>
            </a:r>
            <a:r>
              <a:rPr lang="en-US" dirty="0" err="1" smtClean="0"/>
              <a:t>felis</a:t>
            </a:r>
            <a:r>
              <a:rPr lang="en-US" dirty="0" smtClean="0"/>
              <a:t> </a:t>
            </a:r>
            <a:r>
              <a:rPr lang="en-US" dirty="0" err="1" smtClean="0"/>
              <a:t>eu</a:t>
            </a:r>
            <a:r>
              <a:rPr lang="en-US" dirty="0" smtClean="0"/>
              <a:t> </a:t>
            </a:r>
            <a:r>
              <a:rPr lang="en-US" dirty="0" err="1" smtClean="0"/>
              <a:t>odio</a:t>
            </a:r>
            <a:r>
              <a:rPr lang="en-US" dirty="0" smtClean="0"/>
              <a:t>. </a:t>
            </a:r>
            <a:r>
              <a:rPr lang="en-US" dirty="0" err="1" smtClean="0"/>
              <a:t>Vestibulum</a:t>
            </a:r>
            <a:r>
              <a:rPr lang="en-US" dirty="0" smtClean="0"/>
              <a:t> </a:t>
            </a:r>
            <a:r>
              <a:rPr lang="en-US" dirty="0" err="1" smtClean="0"/>
              <a:t>quis</a:t>
            </a:r>
            <a:r>
              <a:rPr lang="en-US" dirty="0" smtClean="0"/>
              <a:t> </a:t>
            </a:r>
            <a:r>
              <a:rPr lang="en-US" dirty="0" err="1" smtClean="0"/>
              <a:t>lectus</a:t>
            </a:r>
            <a:r>
              <a:rPr lang="en-US" dirty="0" smtClean="0"/>
              <a:t> </a:t>
            </a:r>
            <a:r>
              <a:rPr lang="en-US" dirty="0" err="1" smtClean="0"/>
              <a:t>nec</a:t>
            </a:r>
            <a:r>
              <a:rPr lang="en-US" dirty="0" smtClean="0"/>
              <a:t> </a:t>
            </a:r>
            <a:r>
              <a:rPr lang="en-US" dirty="0" err="1" smtClean="0"/>
              <a:t>tortor</a:t>
            </a:r>
            <a:r>
              <a:rPr lang="en-US" dirty="0" smtClean="0"/>
              <a:t> a </a:t>
            </a:r>
            <a:r>
              <a:rPr lang="en-US" dirty="0" err="1" smtClean="0"/>
              <a:t>dapibus</a:t>
            </a:r>
            <a:r>
              <a:rPr lang="en-US" dirty="0" smtClean="0"/>
              <a:t> </a:t>
            </a:r>
            <a:r>
              <a:rPr lang="en-US" dirty="0" err="1" smtClean="0"/>
              <a:t>imperdiet</a:t>
            </a:r>
            <a:r>
              <a:rPr lang="en-US" dirty="0" smtClean="0"/>
              <a:t> is non </a:t>
            </a:r>
            <a:r>
              <a:rPr lang="en-US" dirty="0" err="1" smtClean="0"/>
              <a:t>lorem</a:t>
            </a:r>
            <a:r>
              <a:rPr lang="en-US" dirty="0" smtClean="0"/>
              <a:t>.”</a:t>
            </a:r>
            <a:endParaRPr lang="en-US" dirty="0"/>
          </a:p>
        </p:txBody>
      </p:sp>
      <p:sp>
        <p:nvSpPr>
          <p:cNvPr id="30" name="Title 1"/>
          <p:cNvSpPr>
            <a:spLocks noGrp="1"/>
          </p:cNvSpPr>
          <p:nvPr>
            <p:ph type="ctrTitle"/>
          </p:nvPr>
        </p:nvSpPr>
        <p:spPr>
          <a:xfrm>
            <a:off x="632001" y="422275"/>
            <a:ext cx="8235951"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31" name="Text Placeholder 11"/>
          <p:cNvSpPr>
            <a:spLocks noGrp="1"/>
          </p:cNvSpPr>
          <p:nvPr>
            <p:ph type="body" sz="quarter" idx="12"/>
          </p:nvPr>
        </p:nvSpPr>
        <p:spPr>
          <a:xfrm>
            <a:off x="631999" y="800101"/>
            <a:ext cx="8235951"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61"/>
          </p:nvPr>
        </p:nvSpPr>
        <p:spPr/>
        <p:txBody>
          <a:bodyPr/>
          <a:lstStyle/>
          <a:p>
            <a:fld id="{37375A8A-23F4-4063-BF5D-AACA5B32A470}" type="slidenum">
              <a:rPr lang="en-US" smtClean="0"/>
              <a:pPr/>
              <a:t>‹#›</a:t>
            </a:fld>
            <a:endParaRPr lang="en-US" dirty="0"/>
          </a:p>
        </p:txBody>
      </p:sp>
      <p:sp>
        <p:nvSpPr>
          <p:cNvPr id="5" name="Text Placeholder 4"/>
          <p:cNvSpPr>
            <a:spLocks noGrp="1"/>
          </p:cNvSpPr>
          <p:nvPr>
            <p:ph type="body" sz="quarter" idx="62" hasCustomPrompt="1"/>
          </p:nvPr>
        </p:nvSpPr>
        <p:spPr>
          <a:xfrm>
            <a:off x="3442892" y="1527007"/>
            <a:ext cx="2618317" cy="1855787"/>
          </a:xfrm>
          <a:prstGeom prst="rect">
            <a:avLst/>
          </a:prstGeom>
        </p:spPr>
        <p:txBody>
          <a:bodyPr/>
          <a:lstStyle>
            <a:lvl1pPr marL="0" indent="0" algn="l">
              <a:buNone/>
              <a:defRPr sz="1050" baseline="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dirty="0" smtClean="0"/>
              <a:t>Address:</a:t>
            </a:r>
          </a:p>
          <a:p>
            <a:pPr lvl="0"/>
            <a:r>
              <a:rPr lang="en-US" dirty="0" smtClean="0"/>
              <a:t>Client:</a:t>
            </a:r>
          </a:p>
          <a:p>
            <a:pPr lvl="0"/>
            <a:r>
              <a:rPr lang="en-US" dirty="0" smtClean="0"/>
              <a:t>City:</a:t>
            </a:r>
          </a:p>
          <a:p>
            <a:pPr lvl="0"/>
            <a:r>
              <a:rPr lang="en-US" dirty="0" smtClean="0"/>
              <a:t>Square Footage</a:t>
            </a:r>
          </a:p>
          <a:p>
            <a:pPr lvl="0"/>
            <a:r>
              <a:rPr lang="en-US" dirty="0" smtClean="0"/>
              <a:t>Sale Price:</a:t>
            </a:r>
            <a:endParaRPr lang="en-US" dirty="0"/>
          </a:p>
        </p:txBody>
      </p:sp>
      <p:sp>
        <p:nvSpPr>
          <p:cNvPr id="46" name="Rectangle 45"/>
          <p:cNvSpPr/>
          <p:nvPr userDrawn="1"/>
        </p:nvSpPr>
        <p:spPr>
          <a:xfrm>
            <a:off x="672852" y="3527257"/>
            <a:ext cx="2438400" cy="598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7" name="Rectangle 46"/>
          <p:cNvSpPr/>
          <p:nvPr userDrawn="1"/>
        </p:nvSpPr>
        <p:spPr>
          <a:xfrm>
            <a:off x="3464509" y="3527257"/>
            <a:ext cx="2438400" cy="598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8" name="Rectangle 47"/>
          <p:cNvSpPr/>
          <p:nvPr userDrawn="1"/>
        </p:nvSpPr>
        <p:spPr>
          <a:xfrm>
            <a:off x="6256167" y="3527257"/>
            <a:ext cx="2438400" cy="598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9" name="Rectangle 48"/>
          <p:cNvSpPr/>
          <p:nvPr userDrawn="1"/>
        </p:nvSpPr>
        <p:spPr>
          <a:xfrm>
            <a:off x="9047825" y="3527257"/>
            <a:ext cx="2438400" cy="5984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0" name="Rectangle 49"/>
          <p:cNvSpPr/>
          <p:nvPr userDrawn="1"/>
        </p:nvSpPr>
        <p:spPr>
          <a:xfrm>
            <a:off x="672852" y="4125743"/>
            <a:ext cx="2438400" cy="22240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1" name="Rectangle 50"/>
          <p:cNvSpPr/>
          <p:nvPr userDrawn="1"/>
        </p:nvSpPr>
        <p:spPr>
          <a:xfrm>
            <a:off x="3464509" y="4125743"/>
            <a:ext cx="2438400" cy="22240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2" name="Rectangle 51"/>
          <p:cNvSpPr/>
          <p:nvPr userDrawn="1"/>
        </p:nvSpPr>
        <p:spPr>
          <a:xfrm>
            <a:off x="6256167" y="4125743"/>
            <a:ext cx="2438400" cy="22240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3" name="Rectangle 52"/>
          <p:cNvSpPr/>
          <p:nvPr userDrawn="1"/>
        </p:nvSpPr>
        <p:spPr>
          <a:xfrm>
            <a:off x="9047825" y="4125743"/>
            <a:ext cx="2438400" cy="2224088"/>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54" name="Picture 53" descr="news.png"/>
          <p:cNvPicPr>
            <a:picLocks noChangeAspect="1"/>
          </p:cNvPicPr>
          <p:nvPr userDrawn="1"/>
        </p:nvPicPr>
        <p:blipFill>
          <a:blip r:embed="rId2" cstate="print"/>
          <a:stretch>
            <a:fillRect/>
          </a:stretch>
        </p:blipFill>
        <p:spPr>
          <a:xfrm>
            <a:off x="767862" y="3580699"/>
            <a:ext cx="637116" cy="477837"/>
          </a:xfrm>
          <a:prstGeom prst="rect">
            <a:avLst/>
          </a:prstGeom>
        </p:spPr>
      </p:pic>
      <p:pic>
        <p:nvPicPr>
          <p:cNvPr id="55" name="Picture 54" descr="news.png"/>
          <p:cNvPicPr>
            <a:picLocks noChangeAspect="1"/>
          </p:cNvPicPr>
          <p:nvPr userDrawn="1"/>
        </p:nvPicPr>
        <p:blipFill>
          <a:blip r:embed="rId2" cstate="print"/>
          <a:stretch>
            <a:fillRect/>
          </a:stretch>
        </p:blipFill>
        <p:spPr>
          <a:xfrm>
            <a:off x="9138051" y="3580699"/>
            <a:ext cx="637116" cy="477837"/>
          </a:xfrm>
          <a:prstGeom prst="rect">
            <a:avLst/>
          </a:prstGeom>
        </p:spPr>
      </p:pic>
      <p:pic>
        <p:nvPicPr>
          <p:cNvPr id="70" name="Picture 69" descr="news.png"/>
          <p:cNvPicPr>
            <a:picLocks noChangeAspect="1"/>
          </p:cNvPicPr>
          <p:nvPr userDrawn="1"/>
        </p:nvPicPr>
        <p:blipFill>
          <a:blip r:embed="rId2" cstate="print"/>
          <a:stretch>
            <a:fillRect/>
          </a:stretch>
        </p:blipFill>
        <p:spPr>
          <a:xfrm>
            <a:off x="6347987" y="3580699"/>
            <a:ext cx="637116" cy="477837"/>
          </a:xfrm>
          <a:prstGeom prst="rect">
            <a:avLst/>
          </a:prstGeom>
        </p:spPr>
      </p:pic>
      <p:pic>
        <p:nvPicPr>
          <p:cNvPr id="72" name="Picture 71" descr="news.png"/>
          <p:cNvPicPr>
            <a:picLocks noChangeAspect="1"/>
          </p:cNvPicPr>
          <p:nvPr userDrawn="1"/>
        </p:nvPicPr>
        <p:blipFill>
          <a:blip r:embed="rId2" cstate="print"/>
          <a:stretch>
            <a:fillRect/>
          </a:stretch>
        </p:blipFill>
        <p:spPr>
          <a:xfrm>
            <a:off x="3557925" y="3580699"/>
            <a:ext cx="637116" cy="477837"/>
          </a:xfrm>
          <a:prstGeom prst="rect">
            <a:avLst/>
          </a:prstGeom>
        </p:spPr>
      </p:pic>
      <p:sp>
        <p:nvSpPr>
          <p:cNvPr id="73" name="Text Placeholder 8"/>
          <p:cNvSpPr txBox="1">
            <a:spLocks/>
          </p:cNvSpPr>
          <p:nvPr userDrawn="1"/>
        </p:nvSpPr>
        <p:spPr>
          <a:xfrm>
            <a:off x="1404977" y="3680307"/>
            <a:ext cx="1706275" cy="276999"/>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200" b="0" i="0" u="none" strike="noStrike" kern="1200" cap="none" spc="0" normalizeH="0" baseline="0" noProof="0" dirty="0" smtClean="0">
                <a:ln>
                  <a:noFill/>
                </a:ln>
                <a:solidFill>
                  <a:schemeClr val="bg1"/>
                </a:solidFill>
                <a:effectLst/>
                <a:uLnTx/>
                <a:uFillTx/>
                <a:latin typeface="+mn-lt"/>
                <a:ea typeface="+mn-ea"/>
                <a:cs typeface="+mn-cs"/>
              </a:rPr>
              <a:t>Needs</a:t>
            </a:r>
          </a:p>
        </p:txBody>
      </p:sp>
      <p:sp>
        <p:nvSpPr>
          <p:cNvPr id="74" name="Text Placeholder 8"/>
          <p:cNvSpPr txBox="1">
            <a:spLocks/>
          </p:cNvSpPr>
          <p:nvPr userDrawn="1"/>
        </p:nvSpPr>
        <p:spPr>
          <a:xfrm>
            <a:off x="9775167" y="3680307"/>
            <a:ext cx="1706275" cy="276999"/>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200" b="0" i="0" u="none" strike="noStrike" kern="1200" cap="none" spc="0" normalizeH="0" baseline="0" noProof="0" dirty="0" smtClean="0">
                <a:ln>
                  <a:noFill/>
                </a:ln>
                <a:solidFill>
                  <a:schemeClr val="bg1"/>
                </a:solidFill>
                <a:effectLst/>
                <a:uLnTx/>
                <a:uFillTx/>
                <a:latin typeface="+mn-lt"/>
                <a:ea typeface="+mn-ea"/>
                <a:cs typeface="+mn-cs"/>
              </a:rPr>
              <a:t>Service</a:t>
            </a:r>
            <a:r>
              <a:rPr kumimoji="0" lang="en-GB" sz="1200" b="0" i="0" u="none" strike="noStrike" kern="1200" cap="none" spc="0" normalizeH="0" noProof="0" dirty="0" smtClean="0">
                <a:ln>
                  <a:noFill/>
                </a:ln>
                <a:solidFill>
                  <a:schemeClr val="bg1"/>
                </a:solidFill>
                <a:effectLst/>
                <a:uLnTx/>
                <a:uFillTx/>
                <a:latin typeface="+mn-lt"/>
                <a:ea typeface="+mn-ea"/>
                <a:cs typeface="+mn-cs"/>
              </a:rPr>
              <a:t>s</a:t>
            </a:r>
            <a:endParaRPr kumimoji="0" lang="en-GB" sz="1200" b="0" i="0" u="none" strike="noStrike" kern="1200" cap="none" spc="0" normalizeH="0" baseline="0" noProof="0" dirty="0" smtClean="0">
              <a:ln>
                <a:noFill/>
              </a:ln>
              <a:solidFill>
                <a:schemeClr val="bg1"/>
              </a:solidFill>
              <a:effectLst/>
              <a:uLnTx/>
              <a:uFillTx/>
              <a:latin typeface="+mn-lt"/>
              <a:ea typeface="+mn-ea"/>
              <a:cs typeface="+mn-cs"/>
            </a:endParaRPr>
          </a:p>
        </p:txBody>
      </p:sp>
      <p:sp>
        <p:nvSpPr>
          <p:cNvPr id="75" name="Text Placeholder 8"/>
          <p:cNvSpPr txBox="1">
            <a:spLocks/>
          </p:cNvSpPr>
          <p:nvPr userDrawn="1"/>
        </p:nvSpPr>
        <p:spPr>
          <a:xfrm>
            <a:off x="6985103" y="3680307"/>
            <a:ext cx="1706275" cy="276999"/>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200" b="0" i="0" u="none" strike="noStrike" kern="1200" cap="none" spc="0" normalizeH="0" baseline="0" noProof="0" dirty="0" smtClean="0">
                <a:ln>
                  <a:noFill/>
                </a:ln>
                <a:solidFill>
                  <a:schemeClr val="bg1"/>
                </a:solidFill>
                <a:effectLst/>
                <a:uLnTx/>
                <a:uFillTx/>
                <a:latin typeface="+mn-lt"/>
                <a:ea typeface="+mn-ea"/>
                <a:cs typeface="+mn-cs"/>
              </a:rPr>
              <a:t>Results</a:t>
            </a:r>
          </a:p>
        </p:txBody>
      </p:sp>
      <p:sp>
        <p:nvSpPr>
          <p:cNvPr id="76" name="Text Placeholder 8"/>
          <p:cNvSpPr txBox="1">
            <a:spLocks/>
          </p:cNvSpPr>
          <p:nvPr userDrawn="1"/>
        </p:nvSpPr>
        <p:spPr>
          <a:xfrm>
            <a:off x="4195040" y="3680307"/>
            <a:ext cx="1706275" cy="276999"/>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200" b="0" i="0" u="none" strike="noStrike" kern="1200" cap="none" spc="0" normalizeH="0" baseline="0" noProof="0" dirty="0" smtClean="0">
                <a:ln>
                  <a:noFill/>
                </a:ln>
                <a:solidFill>
                  <a:schemeClr val="bg1"/>
                </a:solidFill>
                <a:effectLst/>
                <a:uLnTx/>
                <a:uFillTx/>
                <a:latin typeface="+mn-lt"/>
                <a:ea typeface="+mn-ea"/>
                <a:cs typeface="+mn-cs"/>
              </a:rPr>
              <a:t>Approach</a:t>
            </a:r>
          </a:p>
        </p:txBody>
      </p:sp>
      <p:sp>
        <p:nvSpPr>
          <p:cNvPr id="77" name="TextBox 76"/>
          <p:cNvSpPr txBox="1"/>
          <p:nvPr userDrawn="1"/>
        </p:nvSpPr>
        <p:spPr>
          <a:xfrm>
            <a:off x="767862" y="4225439"/>
            <a:ext cx="2202335" cy="1933863"/>
          </a:xfrm>
          <a:prstGeom prst="rect">
            <a:avLst/>
          </a:prstGeom>
          <a:noFill/>
        </p:spPr>
        <p:txBody>
          <a:bodyPr wrap="square" lIns="0" tIns="0" rIns="0" bIns="0" rtlCol="0">
            <a:spAutoFit/>
          </a:bodyPr>
          <a:lstStyle/>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p:txBody>
      </p:sp>
      <p:sp>
        <p:nvSpPr>
          <p:cNvPr id="78" name="TextBox 77"/>
          <p:cNvSpPr txBox="1"/>
          <p:nvPr userDrawn="1"/>
        </p:nvSpPr>
        <p:spPr>
          <a:xfrm>
            <a:off x="3592429" y="4225439"/>
            <a:ext cx="2202335" cy="1933863"/>
          </a:xfrm>
          <a:prstGeom prst="rect">
            <a:avLst/>
          </a:prstGeom>
          <a:noFill/>
        </p:spPr>
        <p:txBody>
          <a:bodyPr wrap="square" lIns="0" tIns="0" rIns="0" bIns="0" rtlCol="0">
            <a:spAutoFit/>
          </a:bodyPr>
          <a:lstStyle/>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p:txBody>
      </p:sp>
      <p:sp>
        <p:nvSpPr>
          <p:cNvPr id="79" name="TextBox 78"/>
          <p:cNvSpPr txBox="1"/>
          <p:nvPr userDrawn="1"/>
        </p:nvSpPr>
        <p:spPr>
          <a:xfrm>
            <a:off x="6382491" y="4225439"/>
            <a:ext cx="2202335" cy="1933863"/>
          </a:xfrm>
          <a:prstGeom prst="rect">
            <a:avLst/>
          </a:prstGeom>
          <a:noFill/>
        </p:spPr>
        <p:txBody>
          <a:bodyPr wrap="square" lIns="0" tIns="0" rIns="0" bIns="0" rtlCol="0">
            <a:spAutoFit/>
          </a:bodyPr>
          <a:lstStyle/>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p:txBody>
      </p:sp>
      <p:sp>
        <p:nvSpPr>
          <p:cNvPr id="80" name="TextBox 79"/>
          <p:cNvSpPr txBox="1"/>
          <p:nvPr userDrawn="1"/>
        </p:nvSpPr>
        <p:spPr>
          <a:xfrm>
            <a:off x="9172554" y="4225439"/>
            <a:ext cx="2202335" cy="1933863"/>
          </a:xfrm>
          <a:prstGeom prst="rect">
            <a:avLst/>
          </a:prstGeom>
          <a:noFill/>
        </p:spPr>
        <p:txBody>
          <a:bodyPr wrap="square" lIns="0" tIns="0" rIns="0" bIns="0" rtlCol="0">
            <a:spAutoFit/>
          </a:bodyPr>
          <a:lstStyle/>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a:p>
            <a:pPr marL="112713" indent="-112713">
              <a:spcAft>
                <a:spcPts val="400"/>
              </a:spcAft>
              <a:buFont typeface="Arial" pitchFamily="34" charset="0"/>
              <a:buChar char="•"/>
            </a:pPr>
            <a:r>
              <a:rPr lang="en-US" sz="1100" dirty="0" smtClean="0">
                <a:solidFill>
                  <a:schemeClr val="accent2"/>
                </a:solidFill>
              </a:rPr>
              <a:t>Bullet point</a:t>
            </a:r>
          </a:p>
        </p:txBody>
      </p:sp>
    </p:spTree>
    <p:extLst>
      <p:ext uri="{BB962C8B-B14F-4D97-AF65-F5344CB8AC3E}">
        <p14:creationId xmlns:p14="http://schemas.microsoft.com/office/powerpoint/2010/main" val="351610087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9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One column with edge Thre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2"/>
            </p:custDataLst>
            <p:extLst/>
          </p:nvPr>
        </p:nvGraphicFramePr>
        <p:xfrm>
          <a:off x="0" y="1"/>
          <a:ext cx="180997" cy="143985"/>
        </p:xfrm>
        <a:graphic>
          <a:graphicData uri="http://schemas.openxmlformats.org/presentationml/2006/ole">
            <mc:AlternateContent xmlns:mc="http://schemas.openxmlformats.org/markup-compatibility/2006">
              <mc:Choice xmlns:v="urn:schemas-microsoft-com:vml" Requires="v">
                <p:oleObj spid="_x0000_s7271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1"/>
                        <a:ext cx="180997" cy="143985"/>
                      </a:xfrm>
                      <a:prstGeom prst="rect">
                        <a:avLst/>
                      </a:prstGeom>
                    </p:spPr>
                  </p:pic>
                </p:oleObj>
              </mc:Fallback>
            </mc:AlternateContent>
          </a:graphicData>
        </a:graphic>
      </p:graphicFrame>
      <p:sp>
        <p:nvSpPr>
          <p:cNvPr id="9" name="Picture Placeholder 10"/>
          <p:cNvSpPr>
            <a:spLocks noGrp="1"/>
          </p:cNvSpPr>
          <p:nvPr>
            <p:ph type="pic" sz="quarter" idx="15"/>
            <p:custDataLst>
              <p:tags r:id="rId3"/>
            </p:custDataLst>
          </p:nvPr>
        </p:nvSpPr>
        <p:spPr>
          <a:xfrm>
            <a:off x="6308725" y="1460499"/>
            <a:ext cx="5883275" cy="5397503"/>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1416981 w 4972049"/>
              <a:gd name="connsiteY0" fmla="*/ 655637 h 3344862"/>
              <a:gd name="connsiteX1" fmla="*/ 4962524 w 4972049"/>
              <a:gd name="connsiteY1" fmla="*/ 0 h 3344862"/>
              <a:gd name="connsiteX2" fmla="*/ 4972049 w 4972049"/>
              <a:gd name="connsiteY2" fmla="*/ 3344862 h 3344862"/>
              <a:gd name="connsiteX3" fmla="*/ 0 w 4972049"/>
              <a:gd name="connsiteY3" fmla="*/ 3344862 h 3344862"/>
              <a:gd name="connsiteX4" fmla="*/ 1416981 w 4972049"/>
              <a:gd name="connsiteY4" fmla="*/ 655637 h 3344862"/>
              <a:gd name="connsiteX0" fmla="*/ 1416981 w 4972049"/>
              <a:gd name="connsiteY0" fmla="*/ 0 h 2689225"/>
              <a:gd name="connsiteX1" fmla="*/ 4972049 w 4972049"/>
              <a:gd name="connsiteY1" fmla="*/ 0 h 2689225"/>
              <a:gd name="connsiteX2" fmla="*/ 4972049 w 4972049"/>
              <a:gd name="connsiteY2" fmla="*/ 2689225 h 2689225"/>
              <a:gd name="connsiteX3" fmla="*/ 0 w 4972049"/>
              <a:gd name="connsiteY3" fmla="*/ 2689225 h 2689225"/>
              <a:gd name="connsiteX4" fmla="*/ 1416981 w 4972049"/>
              <a:gd name="connsiteY4" fmla="*/ 0 h 2689225"/>
              <a:gd name="connsiteX0" fmla="*/ 1416981 w 6364409"/>
              <a:gd name="connsiteY0" fmla="*/ 0 h 2689225"/>
              <a:gd name="connsiteX1" fmla="*/ 6364409 w 6364409"/>
              <a:gd name="connsiteY1" fmla="*/ 0 h 2689225"/>
              <a:gd name="connsiteX2" fmla="*/ 4972049 w 6364409"/>
              <a:gd name="connsiteY2" fmla="*/ 2689225 h 2689225"/>
              <a:gd name="connsiteX3" fmla="*/ 0 w 6364409"/>
              <a:gd name="connsiteY3" fmla="*/ 2689225 h 2689225"/>
              <a:gd name="connsiteX4" fmla="*/ 1416981 w 6364409"/>
              <a:gd name="connsiteY4" fmla="*/ 0 h 2689225"/>
              <a:gd name="connsiteX0" fmla="*/ 1416981 w 6364409"/>
              <a:gd name="connsiteY0" fmla="*/ 0 h 2689225"/>
              <a:gd name="connsiteX1" fmla="*/ 6364409 w 6364409"/>
              <a:gd name="connsiteY1" fmla="*/ 0 h 2689225"/>
              <a:gd name="connsiteX2" fmla="*/ 6364409 w 6364409"/>
              <a:gd name="connsiteY2" fmla="*/ 2689225 h 2689225"/>
              <a:gd name="connsiteX3" fmla="*/ 0 w 6364409"/>
              <a:gd name="connsiteY3" fmla="*/ 2689225 h 2689225"/>
              <a:gd name="connsiteX4" fmla="*/ 1416981 w 6364409"/>
              <a:gd name="connsiteY4" fmla="*/ 0 h 2689225"/>
              <a:gd name="connsiteX0" fmla="*/ 1416981 w 6364409"/>
              <a:gd name="connsiteY0" fmla="*/ 0 h 2689225"/>
              <a:gd name="connsiteX1" fmla="*/ 5888807 w 6364409"/>
              <a:gd name="connsiteY1" fmla="*/ 17295 h 2689225"/>
              <a:gd name="connsiteX2" fmla="*/ 6364409 w 6364409"/>
              <a:gd name="connsiteY2" fmla="*/ 2689225 h 2689225"/>
              <a:gd name="connsiteX3" fmla="*/ 0 w 6364409"/>
              <a:gd name="connsiteY3" fmla="*/ 2689225 h 2689225"/>
              <a:gd name="connsiteX4" fmla="*/ 1416981 w 6364409"/>
              <a:gd name="connsiteY4" fmla="*/ 0 h 2689225"/>
              <a:gd name="connsiteX0" fmla="*/ 1416981 w 5888807"/>
              <a:gd name="connsiteY0" fmla="*/ 0 h 2689225"/>
              <a:gd name="connsiteX1" fmla="*/ 5888807 w 5888807"/>
              <a:gd name="connsiteY1" fmla="*/ 17295 h 2689225"/>
              <a:gd name="connsiteX2" fmla="*/ 5871512 w 5888807"/>
              <a:gd name="connsiteY2" fmla="*/ 2559515 h 2689225"/>
              <a:gd name="connsiteX3" fmla="*/ 0 w 5888807"/>
              <a:gd name="connsiteY3" fmla="*/ 2689225 h 2689225"/>
              <a:gd name="connsiteX4" fmla="*/ 1416981 w 5888807"/>
              <a:gd name="connsiteY4" fmla="*/ 0 h 2689225"/>
              <a:gd name="connsiteX0" fmla="*/ 1356450 w 5828276"/>
              <a:gd name="connsiteY0" fmla="*/ 0 h 2559516"/>
              <a:gd name="connsiteX1" fmla="*/ 5828276 w 5828276"/>
              <a:gd name="connsiteY1" fmla="*/ 17295 h 2559516"/>
              <a:gd name="connsiteX2" fmla="*/ 5810981 w 5828276"/>
              <a:gd name="connsiteY2" fmla="*/ 2559515 h 2559516"/>
              <a:gd name="connsiteX3" fmla="*/ 0 w 5828276"/>
              <a:gd name="connsiteY3" fmla="*/ 2559516 h 2559516"/>
              <a:gd name="connsiteX4" fmla="*/ 1356450 w 5828276"/>
              <a:gd name="connsiteY4" fmla="*/ 0 h 2559516"/>
              <a:gd name="connsiteX0" fmla="*/ 1160619 w 5828276"/>
              <a:gd name="connsiteY0" fmla="*/ 0 h 2548911"/>
              <a:gd name="connsiteX1" fmla="*/ 5828276 w 5828276"/>
              <a:gd name="connsiteY1" fmla="*/ 6690 h 2548911"/>
              <a:gd name="connsiteX2" fmla="*/ 5810981 w 5828276"/>
              <a:gd name="connsiteY2" fmla="*/ 2548910 h 2548911"/>
              <a:gd name="connsiteX3" fmla="*/ 0 w 5828276"/>
              <a:gd name="connsiteY3" fmla="*/ 2548911 h 2548911"/>
              <a:gd name="connsiteX4" fmla="*/ 1160619 w 5828276"/>
              <a:gd name="connsiteY4" fmla="*/ 0 h 2548911"/>
              <a:gd name="connsiteX0" fmla="*/ 1160619 w 5832546"/>
              <a:gd name="connsiteY0" fmla="*/ 0 h 2557085"/>
              <a:gd name="connsiteX1" fmla="*/ 5828276 w 5832546"/>
              <a:gd name="connsiteY1" fmla="*/ 6690 h 2557085"/>
              <a:gd name="connsiteX2" fmla="*/ 5832546 w 5832546"/>
              <a:gd name="connsiteY2" fmla="*/ 2557085 h 2557085"/>
              <a:gd name="connsiteX3" fmla="*/ 0 w 5832546"/>
              <a:gd name="connsiteY3" fmla="*/ 2548911 h 2557085"/>
              <a:gd name="connsiteX4" fmla="*/ 1160619 w 5832546"/>
              <a:gd name="connsiteY4" fmla="*/ 0 h 2557085"/>
              <a:gd name="connsiteX0" fmla="*/ 1499928 w 5832546"/>
              <a:gd name="connsiteY0" fmla="*/ 0 h 2563598"/>
              <a:gd name="connsiteX1" fmla="*/ 5828276 w 5832546"/>
              <a:gd name="connsiteY1" fmla="*/ 13203 h 2563598"/>
              <a:gd name="connsiteX2" fmla="*/ 5832546 w 5832546"/>
              <a:gd name="connsiteY2" fmla="*/ 2563598 h 2563598"/>
              <a:gd name="connsiteX3" fmla="*/ 0 w 5832546"/>
              <a:gd name="connsiteY3" fmla="*/ 2555424 h 2563598"/>
              <a:gd name="connsiteX4" fmla="*/ 1499928 w 5832546"/>
              <a:gd name="connsiteY4" fmla="*/ 0 h 2563598"/>
              <a:gd name="connsiteX0" fmla="*/ 1499928 w 5832546"/>
              <a:gd name="connsiteY0" fmla="*/ 0 h 2656522"/>
              <a:gd name="connsiteX1" fmla="*/ 5828276 w 5832546"/>
              <a:gd name="connsiteY1" fmla="*/ 13203 h 2656522"/>
              <a:gd name="connsiteX2" fmla="*/ 5832546 w 5832546"/>
              <a:gd name="connsiteY2" fmla="*/ 2563598 h 2656522"/>
              <a:gd name="connsiteX3" fmla="*/ 101427 w 5832546"/>
              <a:gd name="connsiteY3" fmla="*/ 2656503 h 2656522"/>
              <a:gd name="connsiteX4" fmla="*/ 0 w 5832546"/>
              <a:gd name="connsiteY4" fmla="*/ 2555424 h 2656522"/>
              <a:gd name="connsiteX5" fmla="*/ 1499928 w 5832546"/>
              <a:gd name="connsiteY5" fmla="*/ 0 h 2656522"/>
              <a:gd name="connsiteX0" fmla="*/ 1522549 w 5855167"/>
              <a:gd name="connsiteY0" fmla="*/ 0 h 2656522"/>
              <a:gd name="connsiteX1" fmla="*/ 5850897 w 5855167"/>
              <a:gd name="connsiteY1" fmla="*/ 13203 h 2656522"/>
              <a:gd name="connsiteX2" fmla="*/ 5855167 w 5855167"/>
              <a:gd name="connsiteY2" fmla="*/ 2563598 h 2656522"/>
              <a:gd name="connsiteX3" fmla="*/ 124048 w 5855167"/>
              <a:gd name="connsiteY3" fmla="*/ 2656503 h 2656522"/>
              <a:gd name="connsiteX4" fmla="*/ 0 w 5855167"/>
              <a:gd name="connsiteY4" fmla="*/ 2548911 h 2656522"/>
              <a:gd name="connsiteX5" fmla="*/ 1522549 w 5855167"/>
              <a:gd name="connsiteY5" fmla="*/ 0 h 2656522"/>
              <a:gd name="connsiteX0" fmla="*/ 1522549 w 5855167"/>
              <a:gd name="connsiteY0" fmla="*/ 0 h 2875028"/>
              <a:gd name="connsiteX1" fmla="*/ 5850897 w 5855167"/>
              <a:gd name="connsiteY1" fmla="*/ 13203 h 2875028"/>
              <a:gd name="connsiteX2" fmla="*/ 5855167 w 5855167"/>
              <a:gd name="connsiteY2" fmla="*/ 2563598 h 2875028"/>
              <a:gd name="connsiteX3" fmla="*/ 0 w 5855167"/>
              <a:gd name="connsiteY3" fmla="*/ 2548911 h 2875028"/>
              <a:gd name="connsiteX4" fmla="*/ 1522549 w 5855167"/>
              <a:gd name="connsiteY4" fmla="*/ 0 h 2875028"/>
              <a:gd name="connsiteX0" fmla="*/ 1522549 w 5855167"/>
              <a:gd name="connsiteY0" fmla="*/ 0 h 2563598"/>
              <a:gd name="connsiteX1" fmla="*/ 5850897 w 5855167"/>
              <a:gd name="connsiteY1" fmla="*/ 13203 h 2563598"/>
              <a:gd name="connsiteX2" fmla="*/ 5855167 w 5855167"/>
              <a:gd name="connsiteY2" fmla="*/ 2563598 h 2563598"/>
              <a:gd name="connsiteX3" fmla="*/ 0 w 5855167"/>
              <a:gd name="connsiteY3" fmla="*/ 2548911 h 2563598"/>
              <a:gd name="connsiteX4" fmla="*/ 1522549 w 5855167"/>
              <a:gd name="connsiteY4" fmla="*/ 0 h 2563598"/>
              <a:gd name="connsiteX0" fmla="*/ 1522549 w 5855167"/>
              <a:gd name="connsiteY0" fmla="*/ 0 h 2573333"/>
              <a:gd name="connsiteX1" fmla="*/ 5850897 w 5855167"/>
              <a:gd name="connsiteY1" fmla="*/ 13203 h 2573333"/>
              <a:gd name="connsiteX2" fmla="*/ 5855167 w 5855167"/>
              <a:gd name="connsiteY2" fmla="*/ 2563598 h 2573333"/>
              <a:gd name="connsiteX3" fmla="*/ 0 w 5855167"/>
              <a:gd name="connsiteY3" fmla="*/ 2573333 h 2573333"/>
              <a:gd name="connsiteX4" fmla="*/ 1522549 w 5855167"/>
              <a:gd name="connsiteY4" fmla="*/ 0 h 2573333"/>
              <a:gd name="connsiteX0" fmla="*/ 1522549 w 5883443"/>
              <a:gd name="connsiteY0" fmla="*/ 0 h 2579880"/>
              <a:gd name="connsiteX1" fmla="*/ 5850897 w 5883443"/>
              <a:gd name="connsiteY1" fmla="*/ 13203 h 2579880"/>
              <a:gd name="connsiteX2" fmla="*/ 5883443 w 5883443"/>
              <a:gd name="connsiteY2" fmla="*/ 2579880 h 2579880"/>
              <a:gd name="connsiteX3" fmla="*/ 0 w 5883443"/>
              <a:gd name="connsiteY3" fmla="*/ 2573333 h 2579880"/>
              <a:gd name="connsiteX4" fmla="*/ 1522549 w 5883443"/>
              <a:gd name="connsiteY4" fmla="*/ 0 h 2579880"/>
              <a:gd name="connsiteX0" fmla="*/ 1522549 w 5883443"/>
              <a:gd name="connsiteY0" fmla="*/ 0 h 2574453"/>
              <a:gd name="connsiteX1" fmla="*/ 5850897 w 5883443"/>
              <a:gd name="connsiteY1" fmla="*/ 7776 h 2574453"/>
              <a:gd name="connsiteX2" fmla="*/ 5883443 w 5883443"/>
              <a:gd name="connsiteY2" fmla="*/ 2574453 h 2574453"/>
              <a:gd name="connsiteX3" fmla="*/ 0 w 5883443"/>
              <a:gd name="connsiteY3" fmla="*/ 2567906 h 2574453"/>
              <a:gd name="connsiteX4" fmla="*/ 1522549 w 5883443"/>
              <a:gd name="connsiteY4" fmla="*/ 0 h 2574453"/>
              <a:gd name="connsiteX0" fmla="*/ 1522549 w 5883443"/>
              <a:gd name="connsiteY0" fmla="*/ 8506 h 2582959"/>
              <a:gd name="connsiteX1" fmla="*/ 5857181 w 5883443"/>
              <a:gd name="connsiteY1" fmla="*/ 0 h 2582959"/>
              <a:gd name="connsiteX2" fmla="*/ 5883443 w 5883443"/>
              <a:gd name="connsiteY2" fmla="*/ 2582959 h 2582959"/>
              <a:gd name="connsiteX3" fmla="*/ 0 w 5883443"/>
              <a:gd name="connsiteY3" fmla="*/ 2576412 h 2582959"/>
              <a:gd name="connsiteX4" fmla="*/ 1522549 w 5883443"/>
              <a:gd name="connsiteY4" fmla="*/ 8506 h 2582959"/>
              <a:gd name="connsiteX0" fmla="*/ 1522549 w 5883443"/>
              <a:gd name="connsiteY0" fmla="*/ 0 h 2574453"/>
              <a:gd name="connsiteX1" fmla="*/ 5850897 w 5883443"/>
              <a:gd name="connsiteY1" fmla="*/ 2348 h 2574453"/>
              <a:gd name="connsiteX2" fmla="*/ 5883443 w 5883443"/>
              <a:gd name="connsiteY2" fmla="*/ 2574453 h 2574453"/>
              <a:gd name="connsiteX3" fmla="*/ 0 w 5883443"/>
              <a:gd name="connsiteY3" fmla="*/ 2567906 h 2574453"/>
              <a:gd name="connsiteX4" fmla="*/ 1522549 w 5883443"/>
              <a:gd name="connsiteY4" fmla="*/ 0 h 2574453"/>
              <a:gd name="connsiteX0" fmla="*/ 2525579 w 5883443"/>
              <a:gd name="connsiteY0" fmla="*/ 84210 h 2572111"/>
              <a:gd name="connsiteX1" fmla="*/ 5850897 w 5883443"/>
              <a:gd name="connsiteY1" fmla="*/ 6 h 2572111"/>
              <a:gd name="connsiteX2" fmla="*/ 5883443 w 5883443"/>
              <a:gd name="connsiteY2" fmla="*/ 2572111 h 2572111"/>
              <a:gd name="connsiteX3" fmla="*/ 0 w 5883443"/>
              <a:gd name="connsiteY3" fmla="*/ 2565564 h 2572111"/>
              <a:gd name="connsiteX4" fmla="*/ 2525579 w 5883443"/>
              <a:gd name="connsiteY4" fmla="*/ 84210 h 2572111"/>
              <a:gd name="connsiteX0" fmla="*/ 3627809 w 5883443"/>
              <a:gd name="connsiteY0" fmla="*/ 147983 h 2572109"/>
              <a:gd name="connsiteX1" fmla="*/ 5850897 w 5883443"/>
              <a:gd name="connsiteY1" fmla="*/ 4 h 2572109"/>
              <a:gd name="connsiteX2" fmla="*/ 5883443 w 5883443"/>
              <a:gd name="connsiteY2" fmla="*/ 2572109 h 2572109"/>
              <a:gd name="connsiteX3" fmla="*/ 0 w 5883443"/>
              <a:gd name="connsiteY3" fmla="*/ 2565562 h 2572109"/>
              <a:gd name="connsiteX4" fmla="*/ 3627809 w 5883443"/>
              <a:gd name="connsiteY4" fmla="*/ 147983 h 2572109"/>
              <a:gd name="connsiteX0" fmla="*/ 3032605 w 5883443"/>
              <a:gd name="connsiteY0" fmla="*/ 2207 h 2572105"/>
              <a:gd name="connsiteX1" fmla="*/ 5850897 w 5883443"/>
              <a:gd name="connsiteY1" fmla="*/ 0 h 2572105"/>
              <a:gd name="connsiteX2" fmla="*/ 5883443 w 5883443"/>
              <a:gd name="connsiteY2" fmla="*/ 2572105 h 2572105"/>
              <a:gd name="connsiteX3" fmla="*/ 0 w 5883443"/>
              <a:gd name="connsiteY3" fmla="*/ 2565558 h 2572105"/>
              <a:gd name="connsiteX4" fmla="*/ 3032605 w 5883443"/>
              <a:gd name="connsiteY4" fmla="*/ 2207 h 2572105"/>
              <a:gd name="connsiteX0" fmla="*/ 3032605 w 5883443"/>
              <a:gd name="connsiteY0" fmla="*/ 0 h 2572935"/>
              <a:gd name="connsiteX1" fmla="*/ 5850897 w 5883443"/>
              <a:gd name="connsiteY1" fmla="*/ 830 h 2572935"/>
              <a:gd name="connsiteX2" fmla="*/ 5883443 w 5883443"/>
              <a:gd name="connsiteY2" fmla="*/ 2572935 h 2572935"/>
              <a:gd name="connsiteX3" fmla="*/ 0 w 5883443"/>
              <a:gd name="connsiteY3" fmla="*/ 2566388 h 2572935"/>
              <a:gd name="connsiteX4" fmla="*/ 3032605 w 5883443"/>
              <a:gd name="connsiteY4" fmla="*/ 0 h 2572935"/>
              <a:gd name="connsiteX0" fmla="*/ 3032605 w 5883443"/>
              <a:gd name="connsiteY0" fmla="*/ 688 h 2572105"/>
              <a:gd name="connsiteX1" fmla="*/ 5850897 w 5883443"/>
              <a:gd name="connsiteY1" fmla="*/ 0 h 2572105"/>
              <a:gd name="connsiteX2" fmla="*/ 5883443 w 5883443"/>
              <a:gd name="connsiteY2" fmla="*/ 2572105 h 2572105"/>
              <a:gd name="connsiteX3" fmla="*/ 0 w 5883443"/>
              <a:gd name="connsiteY3" fmla="*/ 2565558 h 2572105"/>
              <a:gd name="connsiteX4" fmla="*/ 3032605 w 5883443"/>
              <a:gd name="connsiteY4" fmla="*/ 688 h 2572105"/>
              <a:gd name="connsiteX0" fmla="*/ 3032605 w 5883443"/>
              <a:gd name="connsiteY0" fmla="*/ 688 h 2581216"/>
              <a:gd name="connsiteX1" fmla="*/ 5850897 w 5883443"/>
              <a:gd name="connsiteY1" fmla="*/ 0 h 2581216"/>
              <a:gd name="connsiteX2" fmla="*/ 5883443 w 5883443"/>
              <a:gd name="connsiteY2" fmla="*/ 2581216 h 2581216"/>
              <a:gd name="connsiteX3" fmla="*/ 0 w 5883443"/>
              <a:gd name="connsiteY3" fmla="*/ 2565558 h 2581216"/>
              <a:gd name="connsiteX4" fmla="*/ 3032605 w 5883443"/>
              <a:gd name="connsiteY4" fmla="*/ 688 h 2581216"/>
              <a:gd name="connsiteX0" fmla="*/ 3061204 w 5912042"/>
              <a:gd name="connsiteY0" fmla="*/ 688 h 2581216"/>
              <a:gd name="connsiteX1" fmla="*/ 5879496 w 5912042"/>
              <a:gd name="connsiteY1" fmla="*/ 0 h 2581216"/>
              <a:gd name="connsiteX2" fmla="*/ 5912042 w 5912042"/>
              <a:gd name="connsiteY2" fmla="*/ 2581216 h 2581216"/>
              <a:gd name="connsiteX3" fmla="*/ 0 w 5912042"/>
              <a:gd name="connsiteY3" fmla="*/ 2573438 h 2581216"/>
              <a:gd name="connsiteX4" fmla="*/ 3061204 w 5912042"/>
              <a:gd name="connsiteY4" fmla="*/ 688 h 2581216"/>
              <a:gd name="connsiteX0" fmla="*/ 3023073 w 5873911"/>
              <a:gd name="connsiteY0" fmla="*/ 688 h 2581216"/>
              <a:gd name="connsiteX1" fmla="*/ 5841365 w 5873911"/>
              <a:gd name="connsiteY1" fmla="*/ 0 h 2581216"/>
              <a:gd name="connsiteX2" fmla="*/ 5873911 w 5873911"/>
              <a:gd name="connsiteY2" fmla="*/ 2581216 h 2581216"/>
              <a:gd name="connsiteX3" fmla="*/ 0 w 5873911"/>
              <a:gd name="connsiteY3" fmla="*/ 2573438 h 2581216"/>
              <a:gd name="connsiteX4" fmla="*/ 3023073 w 5873911"/>
              <a:gd name="connsiteY4" fmla="*/ 688 h 2581216"/>
              <a:gd name="connsiteX0" fmla="*/ 3023073 w 5845313"/>
              <a:gd name="connsiteY0" fmla="*/ 688 h 2581216"/>
              <a:gd name="connsiteX1" fmla="*/ 5841365 w 5845313"/>
              <a:gd name="connsiteY1" fmla="*/ 0 h 2581216"/>
              <a:gd name="connsiteX2" fmla="*/ 5845313 w 5845313"/>
              <a:gd name="connsiteY2" fmla="*/ 2581216 h 2581216"/>
              <a:gd name="connsiteX3" fmla="*/ 0 w 5845313"/>
              <a:gd name="connsiteY3" fmla="*/ 2573438 h 2581216"/>
              <a:gd name="connsiteX4" fmla="*/ 3023073 w 5845313"/>
              <a:gd name="connsiteY4" fmla="*/ 688 h 2581216"/>
              <a:gd name="connsiteX0" fmla="*/ 2450676 w 5845313"/>
              <a:gd name="connsiteY0" fmla="*/ 688 h 2581216"/>
              <a:gd name="connsiteX1" fmla="*/ 5841365 w 5845313"/>
              <a:gd name="connsiteY1" fmla="*/ 0 h 2581216"/>
              <a:gd name="connsiteX2" fmla="*/ 5845313 w 5845313"/>
              <a:gd name="connsiteY2" fmla="*/ 2581216 h 2581216"/>
              <a:gd name="connsiteX3" fmla="*/ 0 w 5845313"/>
              <a:gd name="connsiteY3" fmla="*/ 2573438 h 2581216"/>
              <a:gd name="connsiteX4" fmla="*/ 2450676 w 5845313"/>
              <a:gd name="connsiteY4" fmla="*/ 688 h 2581216"/>
              <a:gd name="connsiteX0" fmla="*/ 2450676 w 5845313"/>
              <a:gd name="connsiteY0" fmla="*/ 4658 h 2585186"/>
              <a:gd name="connsiteX1" fmla="*/ 5099286 w 5845313"/>
              <a:gd name="connsiteY1" fmla="*/ 0 h 2585186"/>
              <a:gd name="connsiteX2" fmla="*/ 5841365 w 5845313"/>
              <a:gd name="connsiteY2" fmla="*/ 3970 h 2585186"/>
              <a:gd name="connsiteX3" fmla="*/ 5845313 w 5845313"/>
              <a:gd name="connsiteY3" fmla="*/ 2585186 h 2585186"/>
              <a:gd name="connsiteX4" fmla="*/ 0 w 5845313"/>
              <a:gd name="connsiteY4" fmla="*/ 2577408 h 2585186"/>
              <a:gd name="connsiteX5" fmla="*/ 2450676 w 5845313"/>
              <a:gd name="connsiteY5" fmla="*/ 4658 h 2585186"/>
              <a:gd name="connsiteX0" fmla="*/ 2450676 w 5845313"/>
              <a:gd name="connsiteY0" fmla="*/ 4658 h 2585186"/>
              <a:gd name="connsiteX1" fmla="*/ 5099286 w 5845313"/>
              <a:gd name="connsiteY1" fmla="*/ 0 h 2585186"/>
              <a:gd name="connsiteX2" fmla="*/ 5845313 w 5845313"/>
              <a:gd name="connsiteY2" fmla="*/ 2585186 h 2585186"/>
              <a:gd name="connsiteX3" fmla="*/ 0 w 5845313"/>
              <a:gd name="connsiteY3" fmla="*/ 2577408 h 2585186"/>
              <a:gd name="connsiteX4" fmla="*/ 2450676 w 5845313"/>
              <a:gd name="connsiteY4" fmla="*/ 4658 h 2585186"/>
              <a:gd name="connsiteX0" fmla="*/ 2450676 w 5845313"/>
              <a:gd name="connsiteY0" fmla="*/ 4658 h 2585186"/>
              <a:gd name="connsiteX1" fmla="*/ 5099286 w 5845313"/>
              <a:gd name="connsiteY1" fmla="*/ 0 h 2585186"/>
              <a:gd name="connsiteX2" fmla="*/ 5845313 w 5845313"/>
              <a:gd name="connsiteY2" fmla="*/ 2585186 h 2585186"/>
              <a:gd name="connsiteX3" fmla="*/ 5099286 w 5845313"/>
              <a:gd name="connsiteY3" fmla="*/ 2581389 h 2585186"/>
              <a:gd name="connsiteX4" fmla="*/ 0 w 5845313"/>
              <a:gd name="connsiteY4" fmla="*/ 2577408 h 2585186"/>
              <a:gd name="connsiteX5" fmla="*/ 2450676 w 5845313"/>
              <a:gd name="connsiteY5" fmla="*/ 4658 h 2585186"/>
              <a:gd name="connsiteX0" fmla="*/ 2450676 w 5099286"/>
              <a:gd name="connsiteY0" fmla="*/ 4658 h 2581389"/>
              <a:gd name="connsiteX1" fmla="*/ 5099286 w 5099286"/>
              <a:gd name="connsiteY1" fmla="*/ 0 h 2581389"/>
              <a:gd name="connsiteX2" fmla="*/ 5099286 w 5099286"/>
              <a:gd name="connsiteY2" fmla="*/ 2581389 h 2581389"/>
              <a:gd name="connsiteX3" fmla="*/ 0 w 5099286"/>
              <a:gd name="connsiteY3" fmla="*/ 2577408 h 2581389"/>
              <a:gd name="connsiteX4" fmla="*/ 2450676 w 5099286"/>
              <a:gd name="connsiteY4" fmla="*/ 4658 h 2581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9286" h="2581389">
                <a:moveTo>
                  <a:pt x="2450676" y="4658"/>
                </a:moveTo>
                <a:lnTo>
                  <a:pt x="5099286" y="0"/>
                </a:lnTo>
                <a:lnTo>
                  <a:pt x="5099286" y="2581389"/>
                </a:lnTo>
                <a:lnTo>
                  <a:pt x="0" y="2577408"/>
                </a:lnTo>
                <a:lnTo>
                  <a:pt x="2450676" y="4658"/>
                </a:lnTo>
                <a:close/>
              </a:path>
            </a:pathLst>
          </a:custGeom>
          <a:solidFill>
            <a:schemeClr val="bg1">
              <a:lumMod val="95000"/>
            </a:schemeClr>
          </a:solidFill>
        </p:spPr>
        <p:txBody>
          <a:bodyPr anchor="ctr">
            <a:noAutofit/>
          </a:bodyPr>
          <a:lstStyle>
            <a:lvl1pPr algn="ctr">
              <a:defRPr/>
            </a:lvl1pPr>
          </a:lstStyle>
          <a:p>
            <a:r>
              <a:rPr lang="en-US" smtClean="0"/>
              <a:t>Click icon to add picture</a:t>
            </a:r>
            <a:endParaRPr lang="en-US" dirty="0"/>
          </a:p>
        </p:txBody>
      </p:sp>
      <p:sp>
        <p:nvSpPr>
          <p:cNvPr id="10" name="TextBox 9"/>
          <p:cNvSpPr txBox="1"/>
          <p:nvPr userDrawn="1">
            <p:custDataLst>
              <p:tags r:id="rId4"/>
            </p:custDataLst>
          </p:nvPr>
        </p:nvSpPr>
        <p:spPr>
          <a:xfrm>
            <a:off x="481456" y="6510162"/>
            <a:ext cx="4974182" cy="184666"/>
          </a:xfrm>
          <a:prstGeom prst="rect">
            <a:avLst/>
          </a:prstGeom>
          <a:noFill/>
        </p:spPr>
        <p:txBody>
          <a:bodyPr wrap="none" lIns="0" tIns="0" rIns="0" bIns="0" rtlCol="0">
            <a:spAutoFit/>
          </a:bodyPr>
          <a:lstStyle/>
          <a:p>
            <a:r>
              <a:rPr lang="en-NZ" sz="1200" dirty="0" smtClean="0"/>
              <a:t>Cushman &amp;</a:t>
            </a:r>
            <a:r>
              <a:rPr lang="en-NZ" sz="1200" baseline="0" dirty="0" smtClean="0"/>
              <a:t> Wakefield | </a:t>
            </a:r>
            <a:r>
              <a:rPr lang="ru-RU" sz="1200" baseline="0" dirty="0" smtClean="0"/>
              <a:t>Международный бизнес-форум недвижимости</a:t>
            </a:r>
            <a:endParaRPr lang="en-NZ" sz="1200" dirty="0" smtClean="0"/>
          </a:p>
        </p:txBody>
      </p:sp>
      <p:cxnSp>
        <p:nvCxnSpPr>
          <p:cNvPr id="13" name="Straight Connector 12"/>
          <p:cNvCxnSpPr/>
          <p:nvPr userDrawn="1">
            <p:custDataLst>
              <p:tags r:id="rId5"/>
            </p:custDataLst>
          </p:nvPr>
        </p:nvCxnSpPr>
        <p:spPr>
          <a:xfrm>
            <a:off x="546947" y="1117519"/>
            <a:ext cx="11126400" cy="0"/>
          </a:xfrm>
          <a:prstGeom prst="line">
            <a:avLst/>
          </a:prstGeom>
          <a:ln w="19050">
            <a:solidFill>
              <a:schemeClr val="tx1">
                <a:lumMod val="40000"/>
                <a:lumOff val="60000"/>
              </a:schemeClr>
            </a:solidFill>
          </a:ln>
        </p:spPr>
        <p:style>
          <a:lnRef idx="1">
            <a:schemeClr val="accent2"/>
          </a:lnRef>
          <a:fillRef idx="0">
            <a:schemeClr val="accent2"/>
          </a:fillRef>
          <a:effectRef idx="0">
            <a:schemeClr val="accent2"/>
          </a:effectRef>
          <a:fontRef idx="minor">
            <a:schemeClr val="tx1"/>
          </a:fontRef>
        </p:style>
      </p:cxnSp>
      <p:sp>
        <p:nvSpPr>
          <p:cNvPr id="5" name="Title 4"/>
          <p:cNvSpPr>
            <a:spLocks noGrp="1"/>
          </p:cNvSpPr>
          <p:nvPr>
            <p:ph type="title"/>
          </p:nvPr>
        </p:nvSpPr>
        <p:spPr>
          <a:xfrm>
            <a:off x="527051" y="170047"/>
            <a:ext cx="11146296" cy="492443"/>
          </a:xfrm>
          <a:prstGeom prst="rect">
            <a:avLst/>
          </a:prstGeom>
        </p:spPr>
        <p:txBody>
          <a:bodyPr/>
          <a:lstStyle/>
          <a:p>
            <a:r>
              <a:rPr lang="en-US" smtClean="0"/>
              <a:t>Click to edit Master title style</a:t>
            </a:r>
            <a:endParaRPr lang="en-GB"/>
          </a:p>
        </p:txBody>
      </p:sp>
      <p:sp>
        <p:nvSpPr>
          <p:cNvPr id="15" name="Text Placeholder 2"/>
          <p:cNvSpPr>
            <a:spLocks noGrp="1"/>
          </p:cNvSpPr>
          <p:nvPr>
            <p:ph type="body" sz="quarter" idx="14"/>
          </p:nvPr>
        </p:nvSpPr>
        <p:spPr>
          <a:xfrm>
            <a:off x="527747" y="666752"/>
            <a:ext cx="11145600" cy="406265"/>
          </a:xfrm>
          <a:prstGeom prst="rect">
            <a:avLst/>
          </a:prstGeom>
        </p:spPr>
        <p:txBody>
          <a:bodyPr bIns="0"/>
          <a:lstStyle>
            <a:lvl1pPr marL="0" indent="0" algn="l" defTabSz="1163600" rtl="0" eaLnBrk="1" latinLnBrk="0" hangingPunct="1">
              <a:lnSpc>
                <a:spcPct val="100000"/>
              </a:lnSpc>
              <a:spcBef>
                <a:spcPts val="0"/>
              </a:spcBef>
              <a:spcAft>
                <a:spcPts val="0"/>
              </a:spcAft>
              <a:buFont typeface="Arial" panose="020B0604020202020204" pitchFamily="34" charset="0"/>
              <a:buNone/>
              <a:defRPr lang="en-US" sz="2400" b="0" kern="1200" dirty="0" smtClean="0">
                <a:solidFill>
                  <a:schemeClr val="accent1"/>
                </a:solidFill>
                <a:latin typeface="+mn-lt"/>
                <a:ea typeface="+mn-ea"/>
                <a:cs typeface="+mn-cs"/>
              </a:defRPr>
            </a:lvl1pPr>
          </a:lstStyle>
          <a:p>
            <a:pPr marL="0" lvl="0" indent="0" algn="l" defTabSz="1163600" rtl="0" eaLnBrk="1" latinLnBrk="0" hangingPunct="1">
              <a:lnSpc>
                <a:spcPct val="110000"/>
              </a:lnSpc>
              <a:spcBef>
                <a:spcPts val="0"/>
              </a:spcBef>
              <a:spcAft>
                <a:spcPts val="800"/>
              </a:spcAft>
              <a:buFont typeface="Arial" panose="020B0604020202020204" pitchFamily="34" charset="0"/>
              <a:buNone/>
            </a:pPr>
            <a:r>
              <a:rPr lang="en-US" smtClean="0"/>
              <a:t>Click to edit Master text styles</a:t>
            </a:r>
          </a:p>
        </p:txBody>
      </p:sp>
      <p:sp>
        <p:nvSpPr>
          <p:cNvPr id="16" name="Text Placeholder 5"/>
          <p:cNvSpPr>
            <a:spLocks noGrp="1"/>
          </p:cNvSpPr>
          <p:nvPr>
            <p:ph type="body" sz="quarter" idx="10"/>
          </p:nvPr>
        </p:nvSpPr>
        <p:spPr>
          <a:xfrm>
            <a:off x="527747" y="1469327"/>
            <a:ext cx="5760871" cy="2776145"/>
          </a:xfrm>
          <a:prstGeom prst="rect">
            <a:avLst/>
          </a:prstGeom>
        </p:spPr>
        <p:txBody>
          <a:bodyPr wrap="square">
            <a:spAutoFit/>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dirty="0"/>
          </a:p>
        </p:txBody>
      </p:sp>
    </p:spTree>
    <p:extLst>
      <p:ext uri="{BB962C8B-B14F-4D97-AF65-F5344CB8AC3E}">
        <p14:creationId xmlns:p14="http://schemas.microsoft.com/office/powerpoint/2010/main" val="3297081825"/>
      </p:ext>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Disclaimer_Blue">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3901440" y="1955321"/>
            <a:ext cx="8290560" cy="4913312"/>
          </a:xfrm>
          <a:prstGeom prst="rect">
            <a:avLst/>
          </a:prstGeom>
          <a:noFill/>
        </p:spPr>
        <p:txBody>
          <a:bodyPr anchor="ctr"/>
          <a:lstStyle>
            <a:lvl1pPr algn="ctr">
              <a:buNone/>
              <a:defRPr sz="1600">
                <a:solidFill>
                  <a:schemeClr val="bg1"/>
                </a:solidFill>
              </a:defRPr>
            </a:lvl1pPr>
          </a:lstStyle>
          <a:p>
            <a:endParaRPr lang="en-US" dirty="0"/>
          </a:p>
        </p:txBody>
      </p:sp>
      <p:graphicFrame>
        <p:nvGraphicFramePr>
          <p:cNvPr id="4" name="Object 3" hidden="1"/>
          <p:cNvGraphicFramePr>
            <a:graphicFrameLocks noChangeAspect="1"/>
          </p:cNvGraphicFramePr>
          <p:nvPr userDrawn="1">
            <p:custDataLst>
              <p:tags r:id="rId2"/>
            </p:custDataLs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7072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 name="Freeform 9"/>
          <p:cNvSpPr/>
          <p:nvPr userDrawn="1">
            <p:custDataLst>
              <p:tags r:id="rId3"/>
            </p:custDataLst>
          </p:nvPr>
        </p:nvSpPr>
        <p:spPr>
          <a:xfrm>
            <a:off x="1" y="1944688"/>
            <a:ext cx="8846633" cy="4913312"/>
          </a:xfrm>
          <a:custGeom>
            <a:avLst/>
            <a:gdLst>
              <a:gd name="connsiteX0" fmla="*/ 6634975 w 6634975"/>
              <a:gd name="connsiteY0" fmla="*/ 0 h 4951141"/>
              <a:gd name="connsiteX1" fmla="*/ 0 w 6634975"/>
              <a:gd name="connsiteY1" fmla="*/ 0 h 4951141"/>
              <a:gd name="connsiteX2" fmla="*/ 0 w 6634975"/>
              <a:gd name="connsiteY2" fmla="*/ 4951141 h 4951141"/>
              <a:gd name="connsiteX3" fmla="*/ 4025590 w 6634975"/>
              <a:gd name="connsiteY3" fmla="*/ 4951141 h 4951141"/>
              <a:gd name="connsiteX4" fmla="*/ 6634975 w 6634975"/>
              <a:gd name="connsiteY4" fmla="*/ 0 h 4951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4975" h="4951141">
                <a:moveTo>
                  <a:pt x="6634975" y="0"/>
                </a:moveTo>
                <a:lnTo>
                  <a:pt x="0" y="0"/>
                </a:lnTo>
                <a:lnTo>
                  <a:pt x="0" y="4951141"/>
                </a:lnTo>
                <a:lnTo>
                  <a:pt x="4025590" y="4951141"/>
                </a:lnTo>
                <a:lnTo>
                  <a:pt x="6634975"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sz="1800"/>
          </a:p>
        </p:txBody>
      </p:sp>
      <p:sp>
        <p:nvSpPr>
          <p:cNvPr id="12" name="Text Placeholder 13"/>
          <p:cNvSpPr>
            <a:spLocks noGrp="1"/>
          </p:cNvSpPr>
          <p:nvPr>
            <p:ph type="body" sz="quarter" idx="14" hasCustomPrompt="1"/>
          </p:nvPr>
        </p:nvSpPr>
        <p:spPr>
          <a:xfrm>
            <a:off x="715443" y="4870917"/>
            <a:ext cx="5134479" cy="1121093"/>
          </a:xfrm>
          <a:prstGeom prst="rect">
            <a:avLst/>
          </a:prstGeom>
        </p:spPr>
        <p:txBody>
          <a:bodyPr lIns="0" tIns="0" rIns="0" bIns="0"/>
          <a:lstStyle>
            <a:lvl1pPr marL="0" indent="0">
              <a:spcBef>
                <a:spcPts val="0"/>
              </a:spcBef>
              <a:spcAft>
                <a:spcPts val="1000"/>
              </a:spcAft>
              <a:buNone/>
              <a:defRPr sz="800" b="0">
                <a:solidFill>
                  <a:schemeClr val="bg1"/>
                </a:solidFill>
              </a:defRPr>
            </a:lvl1pPr>
            <a:lvl2pPr marL="0" indent="0">
              <a:spcBef>
                <a:spcPts val="0"/>
              </a:spcBef>
              <a:spcAft>
                <a:spcPts val="1000"/>
              </a:spcAft>
              <a:buNone/>
              <a:defRPr sz="1200">
                <a:solidFill>
                  <a:schemeClr val="accent6"/>
                </a:solidFill>
              </a:defRPr>
            </a:lvl2pPr>
            <a:lvl3pPr>
              <a:buNone/>
              <a:defRPr sz="1200">
                <a:solidFill>
                  <a:schemeClr val="accent6"/>
                </a:solidFill>
              </a:defRPr>
            </a:lvl3pPr>
            <a:lvl4pPr>
              <a:buNone/>
              <a:defRPr sz="1200">
                <a:solidFill>
                  <a:schemeClr val="accent6"/>
                </a:solidFill>
              </a:defRPr>
            </a:lvl4pPr>
            <a:lvl5pPr>
              <a:buNone/>
              <a:defRPr sz="1200">
                <a:solidFill>
                  <a:schemeClr val="accent6"/>
                </a:solidFill>
              </a:defRPr>
            </a:lvl5pPr>
          </a:lstStyle>
          <a:p>
            <a:pPr lvl="0"/>
            <a:r>
              <a:rPr lang="en-US" dirty="0" smtClean="0"/>
              <a:t>Cushman &amp; Wakefield Copyright 2015.  NO WARRANTY OR REPRESENTATION, EXPRESS OR IMPLIED, IS MADE TO THE ACCURACY OR COMPLETENESS OF THE INFORMATION CONTAINED HEREIN, AND SAME IS SUBMITTED SUBJECT TO ERRORS, OMISSIONS, CHANGE OF PRICE, RENTAL OR OTHER CONDITIONS, WITHDRAWAL WITHOUT NOTICE, AND TO ANY SPECIAL LISTING CONDITIONS IMPOSED BY THE PROPERTY OWNER(S). AS APPLICABLE, WE MAKE NO REPRESENTATION AS TO THE CONDITION OF THE PROPERTY (OR PROPERTIES) IN QUESTION.</a:t>
            </a:r>
            <a:endParaRPr lang="en-US" dirty="0"/>
          </a:p>
        </p:txBody>
      </p:sp>
      <p:sp>
        <p:nvSpPr>
          <p:cNvPr id="3" name="Text Placeholder 2"/>
          <p:cNvSpPr>
            <a:spLocks noGrp="1"/>
          </p:cNvSpPr>
          <p:nvPr>
            <p:ph type="body" sz="quarter" idx="17" hasCustomPrompt="1"/>
          </p:nvPr>
        </p:nvSpPr>
        <p:spPr>
          <a:xfrm>
            <a:off x="715443" y="2719389"/>
            <a:ext cx="2865967" cy="841375"/>
          </a:xfrm>
          <a:prstGeom prst="rect">
            <a:avLst/>
          </a:prstGeom>
        </p:spPr>
        <p:txBody>
          <a:bodyPr/>
          <a:lstStyle>
            <a:lvl1pPr marL="0" indent="0">
              <a:buNone/>
              <a:defRPr sz="1200" b="0" baseline="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dirty="0" smtClean="0"/>
              <a:t>Broker Contact Info</a:t>
            </a:r>
          </a:p>
        </p:txBody>
      </p:sp>
      <p:sp>
        <p:nvSpPr>
          <p:cNvPr id="18" name="Text Placeholder 2"/>
          <p:cNvSpPr>
            <a:spLocks noGrp="1"/>
          </p:cNvSpPr>
          <p:nvPr>
            <p:ph type="body" sz="quarter" idx="18" hasCustomPrompt="1"/>
          </p:nvPr>
        </p:nvSpPr>
        <p:spPr>
          <a:xfrm>
            <a:off x="3930785" y="2719389"/>
            <a:ext cx="2865967" cy="841375"/>
          </a:xfrm>
          <a:prstGeom prst="rect">
            <a:avLst/>
          </a:prstGeom>
        </p:spPr>
        <p:txBody>
          <a:bodyPr/>
          <a:lstStyle>
            <a:lvl1pPr marL="0" indent="0">
              <a:buNone/>
              <a:defRPr sz="1200" b="0" baseline="0">
                <a:solidFill>
                  <a:schemeClr val="bg1"/>
                </a:solidFill>
              </a:defRPr>
            </a:lvl1pPr>
            <a:lvl2pPr marL="457200" indent="0">
              <a:buNone/>
              <a:defRPr sz="1200">
                <a:solidFill>
                  <a:schemeClr val="bg1"/>
                </a:solidFill>
              </a:defRPr>
            </a:lvl2pPr>
            <a:lvl3pPr marL="914400" indent="0">
              <a:buNone/>
              <a:defRPr sz="12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dirty="0" smtClean="0"/>
              <a:t>Broker Contact Info</a:t>
            </a:r>
          </a:p>
        </p:txBody>
      </p:sp>
    </p:spTree>
    <p:extLst>
      <p:ext uri="{BB962C8B-B14F-4D97-AF65-F5344CB8AC3E}">
        <p14:creationId xmlns:p14="http://schemas.microsoft.com/office/powerpoint/2010/main" val="291971459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Agenda On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p:cNvGraphicFramePr>
          <p:nvPr userDrawn="1">
            <p:custDataLst>
              <p:tags r:id="rId2"/>
            </p:custDataLst>
            <p:extLst/>
          </p:nvPr>
        </p:nvGraphicFramePr>
        <p:xfrm>
          <a:off x="0" y="1"/>
          <a:ext cx="211667" cy="158751"/>
        </p:xfrm>
        <a:graphic>
          <a:graphicData uri="http://schemas.openxmlformats.org/presentationml/2006/ole">
            <mc:AlternateContent xmlns:mc="http://schemas.openxmlformats.org/markup-compatibility/2006">
              <mc:Choice xmlns:v="urn:schemas-microsoft-com:vml" Requires="v">
                <p:oleObj spid="_x0000_s7168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0" y="1"/>
                        <a:ext cx="211667" cy="158751"/>
                      </a:xfrm>
                      <a:prstGeom prst="rect">
                        <a:avLst/>
                      </a:prstGeom>
                    </p:spPr>
                  </p:pic>
                </p:oleObj>
              </mc:Fallback>
            </mc:AlternateContent>
          </a:graphicData>
        </a:graphic>
      </p:graphicFrame>
      <p:sp>
        <p:nvSpPr>
          <p:cNvPr id="2" name="Title 1"/>
          <p:cNvSpPr>
            <a:spLocks noGrp="1"/>
          </p:cNvSpPr>
          <p:nvPr>
            <p:ph type="ctrTitle" hasCustomPrompt="1"/>
            <p:custDataLst>
              <p:tags r:id="rId3"/>
            </p:custDataLst>
          </p:nvPr>
        </p:nvSpPr>
        <p:spPr>
          <a:xfrm>
            <a:off x="527053" y="1470421"/>
            <a:ext cx="5491777" cy="666786"/>
          </a:xfrm>
          <a:prstGeom prst="rect">
            <a:avLst/>
          </a:prstGeom>
        </p:spPr>
        <p:txBody>
          <a:bodyPr wrap="square" anchor="t" anchorCtr="0">
            <a:spAutoFit/>
          </a:bodyPr>
          <a:lstStyle>
            <a:lvl1pPr algn="l">
              <a:defRPr sz="3733">
                <a:solidFill>
                  <a:schemeClr val="accent1"/>
                </a:solidFill>
              </a:defRPr>
            </a:lvl1pPr>
          </a:lstStyle>
          <a:p>
            <a:r>
              <a:rPr lang="en-US" dirty="0" smtClean="0"/>
              <a:t>Agenda/Contents</a:t>
            </a:r>
            <a:endParaRPr lang="en-GB" dirty="0"/>
          </a:p>
        </p:txBody>
      </p:sp>
      <p:sp>
        <p:nvSpPr>
          <p:cNvPr id="3" name="Subtitle 2"/>
          <p:cNvSpPr>
            <a:spLocks noGrp="1"/>
          </p:cNvSpPr>
          <p:nvPr>
            <p:ph type="subTitle" idx="1" hasCustomPrompt="1"/>
            <p:custDataLst>
              <p:tags r:id="rId4"/>
            </p:custDataLst>
          </p:nvPr>
        </p:nvSpPr>
        <p:spPr>
          <a:xfrm>
            <a:off x="527051" y="2363265"/>
            <a:ext cx="3576199" cy="807743"/>
          </a:xfrm>
          <a:prstGeom prst="rect">
            <a:avLst/>
          </a:prstGeom>
        </p:spPr>
        <p:txBody>
          <a:bodyPr/>
          <a:lstStyle>
            <a:lvl1pPr marL="0" marR="0" indent="0" algn="l" defTabSz="1163600" rtl="0" eaLnBrk="1" fontAlgn="auto" latinLnBrk="0" hangingPunct="1">
              <a:lnSpc>
                <a:spcPct val="110000"/>
              </a:lnSpc>
              <a:spcBef>
                <a:spcPts val="0"/>
              </a:spcBef>
              <a:spcAft>
                <a:spcPts val="701"/>
              </a:spcAft>
              <a:buClrTx/>
              <a:buSzTx/>
              <a:buFont typeface="Arial" panose="020B0604020202020204" pitchFamily="34" charset="0"/>
              <a:buNone/>
              <a:tabLst/>
              <a:defRPr sz="2133" b="0" baseline="0">
                <a:solidFill>
                  <a:schemeClr val="tx1"/>
                </a:solidFill>
                <a:latin typeface="+mn-lt"/>
              </a:defRPr>
            </a:lvl1pPr>
            <a:lvl2pPr marL="357708" indent="-357708" algn="l">
              <a:buClr>
                <a:schemeClr val="accent2"/>
              </a:buClr>
              <a:buFont typeface="Arial" panose="020B0604020202020204" pitchFamily="34" charset="0"/>
              <a:buChar char="•"/>
              <a:defRPr sz="2133">
                <a:solidFill>
                  <a:schemeClr val="tx1"/>
                </a:solidFill>
                <a:latin typeface="+mn-lt"/>
              </a:defRPr>
            </a:lvl2pPr>
            <a:lvl3pPr marL="1163600" indent="0" algn="ctr">
              <a:buNone/>
              <a:defRPr>
                <a:solidFill>
                  <a:schemeClr val="tx1">
                    <a:tint val="75000"/>
                  </a:schemeClr>
                </a:solidFill>
              </a:defRPr>
            </a:lvl3pPr>
            <a:lvl4pPr marL="1745400" indent="0" algn="ctr">
              <a:buNone/>
              <a:defRPr>
                <a:solidFill>
                  <a:schemeClr val="tx1">
                    <a:tint val="75000"/>
                  </a:schemeClr>
                </a:solidFill>
              </a:defRPr>
            </a:lvl4pPr>
            <a:lvl5pPr marL="2327202" indent="0" algn="ctr">
              <a:buNone/>
              <a:defRPr>
                <a:solidFill>
                  <a:schemeClr val="tx1">
                    <a:tint val="75000"/>
                  </a:schemeClr>
                </a:solidFill>
              </a:defRPr>
            </a:lvl5pPr>
            <a:lvl6pPr marL="2909002" indent="0" algn="ctr">
              <a:buNone/>
              <a:defRPr>
                <a:solidFill>
                  <a:schemeClr val="tx1">
                    <a:tint val="75000"/>
                  </a:schemeClr>
                </a:solidFill>
              </a:defRPr>
            </a:lvl6pPr>
            <a:lvl7pPr marL="3490802" indent="0" algn="ctr">
              <a:buNone/>
              <a:defRPr>
                <a:solidFill>
                  <a:schemeClr val="tx1">
                    <a:tint val="75000"/>
                  </a:schemeClr>
                </a:solidFill>
              </a:defRPr>
            </a:lvl7pPr>
            <a:lvl8pPr marL="4072604" indent="0" algn="ctr">
              <a:buNone/>
              <a:defRPr>
                <a:solidFill>
                  <a:schemeClr val="tx1">
                    <a:tint val="75000"/>
                  </a:schemeClr>
                </a:solidFill>
              </a:defRPr>
            </a:lvl8pPr>
            <a:lvl9pPr marL="4654404" indent="0" algn="ctr">
              <a:buNone/>
              <a:defRPr>
                <a:solidFill>
                  <a:schemeClr val="tx1">
                    <a:tint val="75000"/>
                  </a:schemeClr>
                </a:solidFill>
              </a:defRPr>
            </a:lvl9pPr>
          </a:lstStyle>
          <a:p>
            <a:r>
              <a:rPr lang="en-US" dirty="0" smtClean="0"/>
              <a:t>Contents list</a:t>
            </a:r>
          </a:p>
          <a:p>
            <a:pPr lvl="1"/>
            <a:r>
              <a:rPr lang="en-US" dirty="0" smtClean="0"/>
              <a:t>Bullet 1</a:t>
            </a:r>
          </a:p>
        </p:txBody>
      </p:sp>
      <p:sp>
        <p:nvSpPr>
          <p:cNvPr id="17" name="Picture Placeholder 10"/>
          <p:cNvSpPr>
            <a:spLocks noGrp="1"/>
          </p:cNvSpPr>
          <p:nvPr>
            <p:ph type="pic" sz="quarter" idx="11"/>
            <p:custDataLst>
              <p:tags r:id="rId5"/>
            </p:custDataLst>
          </p:nvPr>
        </p:nvSpPr>
        <p:spPr>
          <a:xfrm>
            <a:off x="4809068" y="4283517"/>
            <a:ext cx="7388417" cy="2577640"/>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1416981 w 4972049"/>
              <a:gd name="connsiteY0" fmla="*/ 655637 h 3344862"/>
              <a:gd name="connsiteX1" fmla="*/ 4962524 w 4972049"/>
              <a:gd name="connsiteY1" fmla="*/ 0 h 3344862"/>
              <a:gd name="connsiteX2" fmla="*/ 4972049 w 4972049"/>
              <a:gd name="connsiteY2" fmla="*/ 3344862 h 3344862"/>
              <a:gd name="connsiteX3" fmla="*/ 0 w 4972049"/>
              <a:gd name="connsiteY3" fmla="*/ 3344862 h 3344862"/>
              <a:gd name="connsiteX4" fmla="*/ 1416981 w 4972049"/>
              <a:gd name="connsiteY4" fmla="*/ 655637 h 3344862"/>
              <a:gd name="connsiteX0" fmla="*/ 1416981 w 4972049"/>
              <a:gd name="connsiteY0" fmla="*/ 0 h 2689225"/>
              <a:gd name="connsiteX1" fmla="*/ 4972049 w 4972049"/>
              <a:gd name="connsiteY1" fmla="*/ 0 h 2689225"/>
              <a:gd name="connsiteX2" fmla="*/ 4972049 w 4972049"/>
              <a:gd name="connsiteY2" fmla="*/ 2689225 h 2689225"/>
              <a:gd name="connsiteX3" fmla="*/ 0 w 4972049"/>
              <a:gd name="connsiteY3" fmla="*/ 2689225 h 2689225"/>
              <a:gd name="connsiteX4" fmla="*/ 1416981 w 4972049"/>
              <a:gd name="connsiteY4" fmla="*/ 0 h 2689225"/>
              <a:gd name="connsiteX0" fmla="*/ 1416981 w 6364409"/>
              <a:gd name="connsiteY0" fmla="*/ 0 h 2689225"/>
              <a:gd name="connsiteX1" fmla="*/ 6364409 w 6364409"/>
              <a:gd name="connsiteY1" fmla="*/ 0 h 2689225"/>
              <a:gd name="connsiteX2" fmla="*/ 4972049 w 6364409"/>
              <a:gd name="connsiteY2" fmla="*/ 2689225 h 2689225"/>
              <a:gd name="connsiteX3" fmla="*/ 0 w 6364409"/>
              <a:gd name="connsiteY3" fmla="*/ 2689225 h 2689225"/>
              <a:gd name="connsiteX4" fmla="*/ 1416981 w 6364409"/>
              <a:gd name="connsiteY4" fmla="*/ 0 h 2689225"/>
              <a:gd name="connsiteX0" fmla="*/ 1416981 w 6364409"/>
              <a:gd name="connsiteY0" fmla="*/ 0 h 2689225"/>
              <a:gd name="connsiteX1" fmla="*/ 6364409 w 6364409"/>
              <a:gd name="connsiteY1" fmla="*/ 0 h 2689225"/>
              <a:gd name="connsiteX2" fmla="*/ 6364409 w 6364409"/>
              <a:gd name="connsiteY2" fmla="*/ 2689225 h 2689225"/>
              <a:gd name="connsiteX3" fmla="*/ 0 w 6364409"/>
              <a:gd name="connsiteY3" fmla="*/ 2689225 h 2689225"/>
              <a:gd name="connsiteX4" fmla="*/ 1416981 w 6364409"/>
              <a:gd name="connsiteY4" fmla="*/ 0 h 2689225"/>
              <a:gd name="connsiteX0" fmla="*/ 1109332 w 6364409"/>
              <a:gd name="connsiteY0" fmla="*/ 0 h 2689225"/>
              <a:gd name="connsiteX1" fmla="*/ 6364409 w 6364409"/>
              <a:gd name="connsiteY1" fmla="*/ 0 h 2689225"/>
              <a:gd name="connsiteX2" fmla="*/ 6364409 w 6364409"/>
              <a:gd name="connsiteY2" fmla="*/ 2689225 h 2689225"/>
              <a:gd name="connsiteX3" fmla="*/ 0 w 6364409"/>
              <a:gd name="connsiteY3" fmla="*/ 2689225 h 2689225"/>
              <a:gd name="connsiteX4" fmla="*/ 1109332 w 6364409"/>
              <a:gd name="connsiteY4" fmla="*/ 0 h 2689225"/>
              <a:gd name="connsiteX0" fmla="*/ 1056364 w 6364409"/>
              <a:gd name="connsiteY0" fmla="*/ 0 h 2698147"/>
              <a:gd name="connsiteX1" fmla="*/ 6364409 w 6364409"/>
              <a:gd name="connsiteY1" fmla="*/ 8922 h 2698147"/>
              <a:gd name="connsiteX2" fmla="*/ 6364409 w 6364409"/>
              <a:gd name="connsiteY2" fmla="*/ 2698147 h 2698147"/>
              <a:gd name="connsiteX3" fmla="*/ 0 w 6364409"/>
              <a:gd name="connsiteY3" fmla="*/ 2698147 h 2698147"/>
              <a:gd name="connsiteX4" fmla="*/ 1056364 w 6364409"/>
              <a:gd name="connsiteY4" fmla="*/ 0 h 2698147"/>
              <a:gd name="connsiteX0" fmla="*/ 1056364 w 6364409"/>
              <a:gd name="connsiteY0" fmla="*/ 0 h 2698147"/>
              <a:gd name="connsiteX1" fmla="*/ 5778454 w 6364409"/>
              <a:gd name="connsiteY1" fmla="*/ 8198 h 2698147"/>
              <a:gd name="connsiteX2" fmla="*/ 6364409 w 6364409"/>
              <a:gd name="connsiteY2" fmla="*/ 8922 h 2698147"/>
              <a:gd name="connsiteX3" fmla="*/ 6364409 w 6364409"/>
              <a:gd name="connsiteY3" fmla="*/ 2698147 h 2698147"/>
              <a:gd name="connsiteX4" fmla="*/ 0 w 6364409"/>
              <a:gd name="connsiteY4" fmla="*/ 2698147 h 2698147"/>
              <a:gd name="connsiteX5" fmla="*/ 1056364 w 6364409"/>
              <a:gd name="connsiteY5" fmla="*/ 0 h 2698147"/>
              <a:gd name="connsiteX0" fmla="*/ 1056364 w 6364409"/>
              <a:gd name="connsiteY0" fmla="*/ 0 h 2698147"/>
              <a:gd name="connsiteX1" fmla="*/ 5778454 w 6364409"/>
              <a:gd name="connsiteY1" fmla="*/ 8198 h 2698147"/>
              <a:gd name="connsiteX2" fmla="*/ 6364409 w 6364409"/>
              <a:gd name="connsiteY2" fmla="*/ 2698147 h 2698147"/>
              <a:gd name="connsiteX3" fmla="*/ 0 w 6364409"/>
              <a:gd name="connsiteY3" fmla="*/ 2698147 h 2698147"/>
              <a:gd name="connsiteX4" fmla="*/ 1056364 w 6364409"/>
              <a:gd name="connsiteY4" fmla="*/ 0 h 2698147"/>
              <a:gd name="connsiteX0" fmla="*/ 1056364 w 6364409"/>
              <a:gd name="connsiteY0" fmla="*/ 0 h 2698147"/>
              <a:gd name="connsiteX1" fmla="*/ 5778454 w 6364409"/>
              <a:gd name="connsiteY1" fmla="*/ 8198 h 2698147"/>
              <a:gd name="connsiteX2" fmla="*/ 6364409 w 6364409"/>
              <a:gd name="connsiteY2" fmla="*/ 2698147 h 2698147"/>
              <a:gd name="connsiteX3" fmla="*/ 5778454 w 6364409"/>
              <a:gd name="connsiteY3" fmla="*/ 2694802 h 2698147"/>
              <a:gd name="connsiteX4" fmla="*/ 0 w 6364409"/>
              <a:gd name="connsiteY4" fmla="*/ 2698147 h 2698147"/>
              <a:gd name="connsiteX5" fmla="*/ 1056364 w 6364409"/>
              <a:gd name="connsiteY5" fmla="*/ 0 h 2698147"/>
              <a:gd name="connsiteX0" fmla="*/ 1056364 w 5778454"/>
              <a:gd name="connsiteY0" fmla="*/ 0 h 2698147"/>
              <a:gd name="connsiteX1" fmla="*/ 5778454 w 5778454"/>
              <a:gd name="connsiteY1" fmla="*/ 8198 h 2698147"/>
              <a:gd name="connsiteX2" fmla="*/ 5778454 w 5778454"/>
              <a:gd name="connsiteY2" fmla="*/ 2694802 h 2698147"/>
              <a:gd name="connsiteX3" fmla="*/ 0 w 5778454"/>
              <a:gd name="connsiteY3" fmla="*/ 2698147 h 2698147"/>
              <a:gd name="connsiteX4" fmla="*/ 1056364 w 5778454"/>
              <a:gd name="connsiteY4" fmla="*/ 0 h 2698147"/>
              <a:gd name="connsiteX0" fmla="*/ 1056364 w 5778454"/>
              <a:gd name="connsiteY0" fmla="*/ 0 h 2698147"/>
              <a:gd name="connsiteX1" fmla="*/ 5746352 w 5778454"/>
              <a:gd name="connsiteY1" fmla="*/ 1544 h 2698147"/>
              <a:gd name="connsiteX2" fmla="*/ 5778454 w 5778454"/>
              <a:gd name="connsiteY2" fmla="*/ 2694802 h 2698147"/>
              <a:gd name="connsiteX3" fmla="*/ 0 w 5778454"/>
              <a:gd name="connsiteY3" fmla="*/ 2698147 h 2698147"/>
              <a:gd name="connsiteX4" fmla="*/ 1056364 w 5778454"/>
              <a:gd name="connsiteY4" fmla="*/ 0 h 2698147"/>
              <a:gd name="connsiteX0" fmla="*/ 1056364 w 5746353"/>
              <a:gd name="connsiteY0" fmla="*/ 0 h 2698147"/>
              <a:gd name="connsiteX1" fmla="*/ 5746352 w 5746353"/>
              <a:gd name="connsiteY1" fmla="*/ 1544 h 2698147"/>
              <a:gd name="connsiteX2" fmla="*/ 5746353 w 5746353"/>
              <a:gd name="connsiteY2" fmla="*/ 2694802 h 2698147"/>
              <a:gd name="connsiteX3" fmla="*/ 0 w 5746353"/>
              <a:gd name="connsiteY3" fmla="*/ 2698147 h 2698147"/>
              <a:gd name="connsiteX4" fmla="*/ 1056364 w 5746353"/>
              <a:gd name="connsiteY4" fmla="*/ 0 h 2698147"/>
              <a:gd name="connsiteX0" fmla="*/ 1056364 w 5746352"/>
              <a:gd name="connsiteY0" fmla="*/ 0 h 2698147"/>
              <a:gd name="connsiteX1" fmla="*/ 5746352 w 5746352"/>
              <a:gd name="connsiteY1" fmla="*/ 1544 h 2698147"/>
              <a:gd name="connsiteX2" fmla="*/ 5711782 w 5746352"/>
              <a:gd name="connsiteY2" fmla="*/ 2698129 h 2698147"/>
              <a:gd name="connsiteX3" fmla="*/ 0 w 5746352"/>
              <a:gd name="connsiteY3" fmla="*/ 2698147 h 2698147"/>
              <a:gd name="connsiteX4" fmla="*/ 1056364 w 5746352"/>
              <a:gd name="connsiteY4" fmla="*/ 0 h 2698147"/>
              <a:gd name="connsiteX0" fmla="*/ 1056364 w 5746352"/>
              <a:gd name="connsiteY0" fmla="*/ 0 h 2701456"/>
              <a:gd name="connsiteX1" fmla="*/ 5746352 w 5746352"/>
              <a:gd name="connsiteY1" fmla="*/ 1544 h 2701456"/>
              <a:gd name="connsiteX2" fmla="*/ 5741415 w 5746352"/>
              <a:gd name="connsiteY2" fmla="*/ 2701456 h 2701456"/>
              <a:gd name="connsiteX3" fmla="*/ 0 w 5746352"/>
              <a:gd name="connsiteY3" fmla="*/ 2698147 h 2701456"/>
              <a:gd name="connsiteX4" fmla="*/ 1056364 w 5746352"/>
              <a:gd name="connsiteY4" fmla="*/ 0 h 270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6352" h="2701456">
                <a:moveTo>
                  <a:pt x="1056364" y="0"/>
                </a:moveTo>
                <a:lnTo>
                  <a:pt x="5746352" y="1544"/>
                </a:lnTo>
                <a:cubicBezTo>
                  <a:pt x="5746352" y="899297"/>
                  <a:pt x="5741415" y="1803703"/>
                  <a:pt x="5741415" y="2701456"/>
                </a:cubicBezTo>
                <a:lnTo>
                  <a:pt x="0" y="2698147"/>
                </a:lnTo>
                <a:lnTo>
                  <a:pt x="1056364" y="0"/>
                </a:lnTo>
                <a:close/>
              </a:path>
            </a:pathLst>
          </a:custGeom>
          <a:solidFill>
            <a:schemeClr val="bg1">
              <a:lumMod val="95000"/>
            </a:schemeClr>
          </a:solidFill>
          <a:ln>
            <a:noFill/>
          </a:ln>
        </p:spPr>
        <p:txBody>
          <a:bodyPr anchor="ctr">
            <a:noAutofit/>
          </a:bodyPr>
          <a:lstStyle>
            <a:lvl1pPr algn="ctr">
              <a:defRPr/>
            </a:lvl1pPr>
          </a:lstStyle>
          <a:p>
            <a:r>
              <a:rPr lang="en-US" smtClean="0"/>
              <a:t>Click icon to add picture</a:t>
            </a:r>
            <a:endParaRPr lang="en-US"/>
          </a:p>
        </p:txBody>
      </p:sp>
      <p:pic>
        <p:nvPicPr>
          <p:cNvPr id="8" name="Picture 7" descr="E:\CW REBRAND\Assets\CW Logo Suite\Cushman &amp; Wakefield\CW_Logo_PMS.emf"/>
          <p:cNvPicPr>
            <a:picLocks noChangeAspect="1" noChangeArrowheads="1"/>
          </p:cNvPicPr>
          <p:nvPr userDrawn="1">
            <p:custDataLst>
              <p:tags r:id="rId6"/>
            </p:custDataLst>
          </p:nvPr>
        </p:nvPicPr>
        <p:blipFill>
          <a:blip r:embed="rId10" cstate="screen">
            <a:extLst>
              <a:ext uri="{28A0092B-C50C-407E-A947-70E740481C1C}">
                <a14:useLocalDpi xmlns:a14="http://schemas.microsoft.com/office/drawing/2010/main"/>
              </a:ext>
            </a:extLst>
          </a:blip>
          <a:srcRect/>
          <a:stretch>
            <a:fillRect/>
          </a:stretch>
        </p:blipFill>
        <p:spPr bwMode="auto">
          <a:xfrm>
            <a:off x="531285" y="460074"/>
            <a:ext cx="2638636" cy="5530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3189016"/>
      </p:ext>
    </p:extLst>
  </p:cSld>
  <p:clrMapOvr>
    <a:masterClrMapping/>
  </p:clrMapOvr>
  <p:extLst mod="1">
    <p:ext uri="{DCECCB84-F9BA-43D5-87BE-67443E8EF086}">
      <p15:sldGuideLst xmlns:p15="http://schemas.microsoft.com/office/powerpoint/2012/main">
        <p15:guide id="1" orient="horz" pos="202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Start ">
    <p:spTree>
      <p:nvGrpSpPr>
        <p:cNvPr id="1" name=""/>
        <p:cNvGrpSpPr/>
        <p:nvPr/>
      </p:nvGrpSpPr>
      <p:grpSpPr>
        <a:xfrm>
          <a:off x="0" y="0"/>
          <a:ext cx="0" cy="0"/>
          <a:chOff x="0" y="0"/>
          <a:chExt cx="0" cy="0"/>
        </a:xfrm>
      </p:grpSpPr>
      <p:sp>
        <p:nvSpPr>
          <p:cNvPr id="15" name="Text Placeholder 14"/>
          <p:cNvSpPr>
            <a:spLocks noGrp="1"/>
          </p:cNvSpPr>
          <p:nvPr>
            <p:ph type="body" sz="quarter" idx="12"/>
          </p:nvPr>
        </p:nvSpPr>
        <p:spPr>
          <a:xfrm>
            <a:off x="601132" y="1944689"/>
            <a:ext cx="5499101" cy="4448175"/>
          </a:xfrm>
          <a:prstGeom prst="rect">
            <a:avLst/>
          </a:prstGeom>
        </p:spPr>
        <p:txBody>
          <a:bodyPr lIns="0" tIns="0" rIns="0" bIns="0"/>
          <a:lstStyle>
            <a:lvl1pPr>
              <a:buNone/>
              <a:defRPr sz="1400">
                <a:solidFill>
                  <a:schemeClr val="tx1"/>
                </a:solidFill>
              </a:defRPr>
            </a:lvl1pPr>
            <a:lvl2pPr>
              <a:buNone/>
              <a:defRPr sz="1400">
                <a:solidFill>
                  <a:schemeClr val="tx2"/>
                </a:solidFill>
              </a:defRPr>
            </a:lvl2pPr>
            <a:lvl3pPr>
              <a:buNone/>
              <a:defRPr sz="1400">
                <a:solidFill>
                  <a:schemeClr val="tx2"/>
                </a:solidFill>
              </a:defRPr>
            </a:lvl3pPr>
            <a:lvl4pPr>
              <a:buNone/>
              <a:defRPr sz="1400">
                <a:solidFill>
                  <a:schemeClr val="tx2"/>
                </a:solidFill>
              </a:defRPr>
            </a:lvl4pPr>
            <a:lvl5pPr>
              <a:buNone/>
              <a:defRPr sz="1400">
                <a:solidFill>
                  <a:schemeClr val="tx2"/>
                </a:solidFill>
              </a:defRPr>
            </a:lvl5pPr>
          </a:lstStyle>
          <a:p>
            <a:pPr lvl="0"/>
            <a:endParaRPr lang="en-US" dirty="0"/>
          </a:p>
        </p:txBody>
      </p:sp>
      <p:sp>
        <p:nvSpPr>
          <p:cNvPr id="17" name="Picture Placeholder 16"/>
          <p:cNvSpPr>
            <a:spLocks noGrp="1"/>
          </p:cNvSpPr>
          <p:nvPr>
            <p:ph type="pic" sz="quarter" idx="13" hasCustomPrompt="1"/>
          </p:nvPr>
        </p:nvSpPr>
        <p:spPr>
          <a:xfrm>
            <a:off x="10606617" y="2545557"/>
            <a:ext cx="980017" cy="735013"/>
          </a:xfrm>
          <a:prstGeom prst="rect">
            <a:avLst/>
          </a:prstGeom>
        </p:spPr>
        <p:txBody>
          <a:bodyPr anchor="ctr"/>
          <a:lstStyle>
            <a:lvl1pPr algn="ctr">
              <a:buNone/>
              <a:defRPr sz="1600">
                <a:solidFill>
                  <a:schemeClr val="accent6"/>
                </a:solidFill>
              </a:defRPr>
            </a:lvl1pPr>
          </a:lstStyle>
          <a:p>
            <a:r>
              <a:rPr lang="en-US" dirty="0" smtClean="0"/>
              <a:t>icon</a:t>
            </a:r>
            <a:endParaRPr lang="en-US" dirty="0"/>
          </a:p>
        </p:txBody>
      </p:sp>
      <p:sp>
        <p:nvSpPr>
          <p:cNvPr id="19" name="Text Placeholder 18"/>
          <p:cNvSpPr>
            <a:spLocks noGrp="1"/>
          </p:cNvSpPr>
          <p:nvPr>
            <p:ph type="body" sz="quarter" idx="14"/>
          </p:nvPr>
        </p:nvSpPr>
        <p:spPr>
          <a:xfrm>
            <a:off x="9334500" y="3280569"/>
            <a:ext cx="2252133" cy="579437"/>
          </a:xfrm>
          <a:prstGeom prst="rect">
            <a:avLst/>
          </a:prstGeom>
        </p:spPr>
        <p:txBody>
          <a:bodyPr/>
          <a:lstStyle>
            <a:lvl1pPr algn="r">
              <a:buNone/>
              <a:defRPr sz="1200">
                <a:solidFill>
                  <a:schemeClr val="bg1"/>
                </a:solidFill>
              </a:defRPr>
            </a:lvl1pPr>
            <a:lvl2pPr algn="r">
              <a:defRPr sz="1200">
                <a:solidFill>
                  <a:schemeClr val="accent6"/>
                </a:solidFill>
              </a:defRPr>
            </a:lvl2pPr>
            <a:lvl3pPr algn="r">
              <a:defRPr sz="1200">
                <a:solidFill>
                  <a:schemeClr val="accent6"/>
                </a:solidFill>
              </a:defRPr>
            </a:lvl3pPr>
            <a:lvl4pPr algn="r">
              <a:defRPr sz="1200">
                <a:solidFill>
                  <a:schemeClr val="accent6"/>
                </a:solidFill>
              </a:defRPr>
            </a:lvl4pPr>
            <a:lvl5pPr algn="r">
              <a:defRPr sz="1200">
                <a:solidFill>
                  <a:schemeClr val="accent6"/>
                </a:solidFill>
              </a:defRPr>
            </a:lvl5pPr>
          </a:lstStyle>
          <a:p>
            <a:pPr lvl="0"/>
            <a:endParaRPr lang="en-US" dirty="0"/>
          </a:p>
        </p:txBody>
      </p:sp>
      <p:sp>
        <p:nvSpPr>
          <p:cNvPr id="13" name="Title 1"/>
          <p:cNvSpPr>
            <a:spLocks noGrp="1"/>
          </p:cNvSpPr>
          <p:nvPr>
            <p:ph type="ctrTitle"/>
          </p:nvPr>
        </p:nvSpPr>
        <p:spPr>
          <a:xfrm>
            <a:off x="601134" y="422275"/>
            <a:ext cx="8235951"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14" name="Text Placeholder 11"/>
          <p:cNvSpPr>
            <a:spLocks noGrp="1"/>
          </p:cNvSpPr>
          <p:nvPr>
            <p:ph type="body" sz="quarter" idx="15"/>
          </p:nvPr>
        </p:nvSpPr>
        <p:spPr>
          <a:xfrm>
            <a:off x="601133" y="800101"/>
            <a:ext cx="8235951"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10" name="Freeform 9"/>
          <p:cNvSpPr/>
          <p:nvPr userDrawn="1"/>
        </p:nvSpPr>
        <p:spPr>
          <a:xfrm rot="1680000" flipH="1" flipV="1">
            <a:off x="9343659" y="1456163"/>
            <a:ext cx="3065807" cy="3486406"/>
          </a:xfrm>
          <a:custGeom>
            <a:avLst/>
            <a:gdLst>
              <a:gd name="connsiteX0" fmla="*/ 0 w 431321"/>
              <a:gd name="connsiteY0" fmla="*/ 0 h 3278038"/>
              <a:gd name="connsiteX1" fmla="*/ 431321 w 431321"/>
              <a:gd name="connsiteY1" fmla="*/ 0 h 3278038"/>
              <a:gd name="connsiteX2" fmla="*/ 431321 w 431321"/>
              <a:gd name="connsiteY2" fmla="*/ 3278038 h 3278038"/>
              <a:gd name="connsiteX3" fmla="*/ 0 w 431321"/>
              <a:gd name="connsiteY3" fmla="*/ 3278038 h 3278038"/>
              <a:gd name="connsiteX4" fmla="*/ 0 w 431321"/>
              <a:gd name="connsiteY4" fmla="*/ 0 h 3278038"/>
              <a:gd name="connsiteX0" fmla="*/ 0 w 1952909"/>
              <a:gd name="connsiteY0" fmla="*/ 1033753 h 3278038"/>
              <a:gd name="connsiteX1" fmla="*/ 1952909 w 1952909"/>
              <a:gd name="connsiteY1" fmla="*/ 0 h 3278038"/>
              <a:gd name="connsiteX2" fmla="*/ 1952909 w 1952909"/>
              <a:gd name="connsiteY2" fmla="*/ 3278038 h 3278038"/>
              <a:gd name="connsiteX3" fmla="*/ 1521588 w 1952909"/>
              <a:gd name="connsiteY3" fmla="*/ 3278038 h 3278038"/>
              <a:gd name="connsiteX4" fmla="*/ 0 w 1952909"/>
              <a:gd name="connsiteY4" fmla="*/ 1033753 h 3278038"/>
              <a:gd name="connsiteX0" fmla="*/ 0 w 3541702"/>
              <a:gd name="connsiteY0" fmla="*/ 1888300 h 3278038"/>
              <a:gd name="connsiteX1" fmla="*/ 3541702 w 3541702"/>
              <a:gd name="connsiteY1" fmla="*/ 0 h 3278038"/>
              <a:gd name="connsiteX2" fmla="*/ 3541702 w 3541702"/>
              <a:gd name="connsiteY2" fmla="*/ 3278038 h 3278038"/>
              <a:gd name="connsiteX3" fmla="*/ 3110381 w 3541702"/>
              <a:gd name="connsiteY3" fmla="*/ 3278038 h 3278038"/>
              <a:gd name="connsiteX4" fmla="*/ 0 w 3541702"/>
              <a:gd name="connsiteY4" fmla="*/ 1888300 h 3278038"/>
              <a:gd name="connsiteX0" fmla="*/ 0 w 3541702"/>
              <a:gd name="connsiteY0" fmla="*/ 1888300 h 5723271"/>
              <a:gd name="connsiteX1" fmla="*/ 3541702 w 3541702"/>
              <a:gd name="connsiteY1" fmla="*/ 0 h 5723271"/>
              <a:gd name="connsiteX2" fmla="*/ 3541702 w 3541702"/>
              <a:gd name="connsiteY2" fmla="*/ 3278038 h 5723271"/>
              <a:gd name="connsiteX3" fmla="*/ 2039089 w 3541702"/>
              <a:gd name="connsiteY3" fmla="*/ 5723271 h 5723271"/>
              <a:gd name="connsiteX4" fmla="*/ 0 w 3541702"/>
              <a:gd name="connsiteY4" fmla="*/ 1888300 h 5723271"/>
              <a:gd name="connsiteX0" fmla="*/ 0 w 3541702"/>
              <a:gd name="connsiteY0" fmla="*/ 1888300 h 5723271"/>
              <a:gd name="connsiteX1" fmla="*/ 3541702 w 3541702"/>
              <a:gd name="connsiteY1" fmla="*/ 0 h 5723271"/>
              <a:gd name="connsiteX2" fmla="*/ 3530999 w 3541702"/>
              <a:gd name="connsiteY2" fmla="*/ 4930010 h 5723271"/>
              <a:gd name="connsiteX3" fmla="*/ 2039089 w 3541702"/>
              <a:gd name="connsiteY3" fmla="*/ 5723271 h 5723271"/>
              <a:gd name="connsiteX4" fmla="*/ 0 w 3541702"/>
              <a:gd name="connsiteY4" fmla="*/ 1888300 h 5723271"/>
              <a:gd name="connsiteX0" fmla="*/ 0 w 5020365"/>
              <a:gd name="connsiteY0" fmla="*/ 2673844 h 5723271"/>
              <a:gd name="connsiteX1" fmla="*/ 5020365 w 5020365"/>
              <a:gd name="connsiteY1" fmla="*/ 0 h 5723271"/>
              <a:gd name="connsiteX2" fmla="*/ 5009662 w 5020365"/>
              <a:gd name="connsiteY2" fmla="*/ 4930010 h 5723271"/>
              <a:gd name="connsiteX3" fmla="*/ 3517752 w 5020365"/>
              <a:gd name="connsiteY3" fmla="*/ 5723271 h 5723271"/>
              <a:gd name="connsiteX4" fmla="*/ 0 w 5020365"/>
              <a:gd name="connsiteY4" fmla="*/ 2673844 h 5723271"/>
              <a:gd name="connsiteX0" fmla="*/ 0 w 5020365"/>
              <a:gd name="connsiteY0" fmla="*/ 2673844 h 7012041"/>
              <a:gd name="connsiteX1" fmla="*/ 5020365 w 5020365"/>
              <a:gd name="connsiteY1" fmla="*/ 0 h 7012041"/>
              <a:gd name="connsiteX2" fmla="*/ 5009662 w 5020365"/>
              <a:gd name="connsiteY2" fmla="*/ 4930010 h 7012041"/>
              <a:gd name="connsiteX3" fmla="*/ 2306660 w 5020365"/>
              <a:gd name="connsiteY3" fmla="*/ 7012041 h 7012041"/>
              <a:gd name="connsiteX4" fmla="*/ 0 w 5020365"/>
              <a:gd name="connsiteY4" fmla="*/ 2673844 h 7012041"/>
              <a:gd name="connsiteX0" fmla="*/ 0 w 5021554"/>
              <a:gd name="connsiteY0" fmla="*/ 2673844 h 7012041"/>
              <a:gd name="connsiteX1" fmla="*/ 5020365 w 5021554"/>
              <a:gd name="connsiteY1" fmla="*/ 0 h 7012041"/>
              <a:gd name="connsiteX2" fmla="*/ 5017986 w 5021554"/>
              <a:gd name="connsiteY2" fmla="*/ 5570404 h 7012041"/>
              <a:gd name="connsiteX3" fmla="*/ 2306660 w 5021554"/>
              <a:gd name="connsiteY3" fmla="*/ 7012041 h 7012041"/>
              <a:gd name="connsiteX4" fmla="*/ 0 w 5021554"/>
              <a:gd name="connsiteY4" fmla="*/ 2673844 h 7012041"/>
              <a:gd name="connsiteX0" fmla="*/ 0 w 5850422"/>
              <a:gd name="connsiteY0" fmla="*/ 3114561 h 7012041"/>
              <a:gd name="connsiteX1" fmla="*/ 5849233 w 5850422"/>
              <a:gd name="connsiteY1" fmla="*/ 0 h 7012041"/>
              <a:gd name="connsiteX2" fmla="*/ 5846854 w 5850422"/>
              <a:gd name="connsiteY2" fmla="*/ 5570404 h 7012041"/>
              <a:gd name="connsiteX3" fmla="*/ 3135528 w 5850422"/>
              <a:gd name="connsiteY3" fmla="*/ 7012041 h 7012041"/>
              <a:gd name="connsiteX4" fmla="*/ 0 w 5850422"/>
              <a:gd name="connsiteY4" fmla="*/ 3114561 h 7012041"/>
              <a:gd name="connsiteX0" fmla="*/ 0 w 5850422"/>
              <a:gd name="connsiteY0" fmla="*/ 3114561 h 7452758"/>
              <a:gd name="connsiteX1" fmla="*/ 5849233 w 5850422"/>
              <a:gd name="connsiteY1" fmla="*/ 0 h 7452758"/>
              <a:gd name="connsiteX2" fmla="*/ 5846854 w 5850422"/>
              <a:gd name="connsiteY2" fmla="*/ 5570404 h 7452758"/>
              <a:gd name="connsiteX3" fmla="*/ 2306661 w 5850422"/>
              <a:gd name="connsiteY3" fmla="*/ 7452758 h 7452758"/>
              <a:gd name="connsiteX4" fmla="*/ 0 w 5850422"/>
              <a:gd name="connsiteY4" fmla="*/ 3114561 h 7452758"/>
              <a:gd name="connsiteX0" fmla="*/ 0 w 5850422"/>
              <a:gd name="connsiteY0" fmla="*/ 3114561 h 5570404"/>
              <a:gd name="connsiteX1" fmla="*/ 5849233 w 5850422"/>
              <a:gd name="connsiteY1" fmla="*/ 0 h 5570404"/>
              <a:gd name="connsiteX2" fmla="*/ 5846854 w 5850422"/>
              <a:gd name="connsiteY2" fmla="*/ 5570404 h 5570404"/>
              <a:gd name="connsiteX3" fmla="*/ 3474463 w 5850422"/>
              <a:gd name="connsiteY3" fmla="*/ 4759371 h 5570404"/>
              <a:gd name="connsiteX4" fmla="*/ 0 w 5850422"/>
              <a:gd name="connsiteY4" fmla="*/ 3114561 h 5570404"/>
              <a:gd name="connsiteX0" fmla="*/ 0 w 5856216"/>
              <a:gd name="connsiteY0" fmla="*/ 3114561 h 4759371"/>
              <a:gd name="connsiteX1" fmla="*/ 5849233 w 5856216"/>
              <a:gd name="connsiteY1" fmla="*/ 0 h 4759371"/>
              <a:gd name="connsiteX2" fmla="*/ 5852648 w 5856216"/>
              <a:gd name="connsiteY2" fmla="*/ 4566615 h 4759371"/>
              <a:gd name="connsiteX3" fmla="*/ 3474463 w 5856216"/>
              <a:gd name="connsiteY3" fmla="*/ 4759371 h 4759371"/>
              <a:gd name="connsiteX4" fmla="*/ 0 w 5856216"/>
              <a:gd name="connsiteY4" fmla="*/ 3114561 h 4759371"/>
              <a:gd name="connsiteX0" fmla="*/ 487124 w 2381753"/>
              <a:gd name="connsiteY0" fmla="*/ 1010044 h 4759371"/>
              <a:gd name="connsiteX1" fmla="*/ 2374770 w 2381753"/>
              <a:gd name="connsiteY1" fmla="*/ 0 h 4759371"/>
              <a:gd name="connsiteX2" fmla="*/ 2378185 w 2381753"/>
              <a:gd name="connsiteY2" fmla="*/ 4566615 h 4759371"/>
              <a:gd name="connsiteX3" fmla="*/ 0 w 2381753"/>
              <a:gd name="connsiteY3" fmla="*/ 4759371 h 4759371"/>
              <a:gd name="connsiteX4" fmla="*/ 487124 w 2381753"/>
              <a:gd name="connsiteY4" fmla="*/ 1010044 h 4759371"/>
              <a:gd name="connsiteX0" fmla="*/ 0 w 1894629"/>
              <a:gd name="connsiteY0" fmla="*/ 1010044 h 4566615"/>
              <a:gd name="connsiteX1" fmla="*/ 1887646 w 1894629"/>
              <a:gd name="connsiteY1" fmla="*/ 0 h 4566615"/>
              <a:gd name="connsiteX2" fmla="*/ 1891061 w 1894629"/>
              <a:gd name="connsiteY2" fmla="*/ 4566615 h 4566615"/>
              <a:gd name="connsiteX3" fmla="*/ 913720 w 1894629"/>
              <a:gd name="connsiteY3" fmla="*/ 2728503 h 4566615"/>
              <a:gd name="connsiteX4" fmla="*/ 0 w 1894629"/>
              <a:gd name="connsiteY4" fmla="*/ 1010044 h 4566615"/>
              <a:gd name="connsiteX0" fmla="*/ 0 w 1894351"/>
              <a:gd name="connsiteY0" fmla="*/ 1010044 h 3876274"/>
              <a:gd name="connsiteX1" fmla="*/ 1887646 w 1894351"/>
              <a:gd name="connsiteY1" fmla="*/ 0 h 3876274"/>
              <a:gd name="connsiteX2" fmla="*/ 1890783 w 1894351"/>
              <a:gd name="connsiteY2" fmla="*/ 3876274 h 3876274"/>
              <a:gd name="connsiteX3" fmla="*/ 913720 w 1894351"/>
              <a:gd name="connsiteY3" fmla="*/ 2728503 h 3876274"/>
              <a:gd name="connsiteX4" fmla="*/ 0 w 1894351"/>
              <a:gd name="connsiteY4" fmla="*/ 1010044 h 3876274"/>
              <a:gd name="connsiteX0" fmla="*/ 0 w 1894351"/>
              <a:gd name="connsiteY0" fmla="*/ 1010044 h 4390522"/>
              <a:gd name="connsiteX1" fmla="*/ 1887646 w 1894351"/>
              <a:gd name="connsiteY1" fmla="*/ 0 h 4390522"/>
              <a:gd name="connsiteX2" fmla="*/ 1890783 w 1894351"/>
              <a:gd name="connsiteY2" fmla="*/ 3876274 h 4390522"/>
              <a:gd name="connsiteX3" fmla="*/ 923625 w 1894351"/>
              <a:gd name="connsiteY3" fmla="*/ 4390522 h 4390522"/>
              <a:gd name="connsiteX4" fmla="*/ 0 w 1894351"/>
              <a:gd name="connsiteY4" fmla="*/ 1010044 h 4390522"/>
              <a:gd name="connsiteX0" fmla="*/ 0 w 2579799"/>
              <a:gd name="connsiteY0" fmla="*/ 1364296 h 4390522"/>
              <a:gd name="connsiteX1" fmla="*/ 2573094 w 2579799"/>
              <a:gd name="connsiteY1" fmla="*/ 0 h 4390522"/>
              <a:gd name="connsiteX2" fmla="*/ 2576231 w 2579799"/>
              <a:gd name="connsiteY2" fmla="*/ 3876274 h 4390522"/>
              <a:gd name="connsiteX3" fmla="*/ 1609073 w 2579799"/>
              <a:gd name="connsiteY3" fmla="*/ 4390522 h 4390522"/>
              <a:gd name="connsiteX4" fmla="*/ 0 w 2579799"/>
              <a:gd name="connsiteY4" fmla="*/ 1364296 h 4390522"/>
              <a:gd name="connsiteX0" fmla="*/ 0 w 2579799"/>
              <a:gd name="connsiteY0" fmla="*/ 1364296 h 4502315"/>
              <a:gd name="connsiteX1" fmla="*/ 2573094 w 2579799"/>
              <a:gd name="connsiteY1" fmla="*/ 0 h 4502315"/>
              <a:gd name="connsiteX2" fmla="*/ 2576231 w 2579799"/>
              <a:gd name="connsiteY2" fmla="*/ 3876274 h 4502315"/>
              <a:gd name="connsiteX3" fmla="*/ 1398821 w 2579799"/>
              <a:gd name="connsiteY3" fmla="*/ 4502315 h 4502315"/>
              <a:gd name="connsiteX4" fmla="*/ 0 w 2579799"/>
              <a:gd name="connsiteY4" fmla="*/ 1364296 h 4502315"/>
              <a:gd name="connsiteX0" fmla="*/ 0 w 2790052"/>
              <a:gd name="connsiteY0" fmla="*/ 1476088 h 4502315"/>
              <a:gd name="connsiteX1" fmla="*/ 2783347 w 2790052"/>
              <a:gd name="connsiteY1" fmla="*/ 0 h 4502315"/>
              <a:gd name="connsiteX2" fmla="*/ 2786484 w 2790052"/>
              <a:gd name="connsiteY2" fmla="*/ 3876274 h 4502315"/>
              <a:gd name="connsiteX3" fmla="*/ 1609074 w 2790052"/>
              <a:gd name="connsiteY3" fmla="*/ 4502315 h 4502315"/>
              <a:gd name="connsiteX4" fmla="*/ 0 w 2790052"/>
              <a:gd name="connsiteY4" fmla="*/ 1476088 h 4502315"/>
              <a:gd name="connsiteX0" fmla="*/ 0 w 2786484"/>
              <a:gd name="connsiteY0" fmla="*/ 1476088 h 4502315"/>
              <a:gd name="connsiteX1" fmla="*/ 2783347 w 2786484"/>
              <a:gd name="connsiteY1" fmla="*/ 0 h 4502315"/>
              <a:gd name="connsiteX2" fmla="*/ 2786484 w 2786484"/>
              <a:gd name="connsiteY2" fmla="*/ 3876274 h 4502315"/>
              <a:gd name="connsiteX3" fmla="*/ 1609074 w 2786484"/>
              <a:gd name="connsiteY3" fmla="*/ 4502315 h 4502315"/>
              <a:gd name="connsiteX4" fmla="*/ 0 w 2786484"/>
              <a:gd name="connsiteY4" fmla="*/ 1476088 h 4502315"/>
              <a:gd name="connsiteX0" fmla="*/ 0 w 2783347"/>
              <a:gd name="connsiteY0" fmla="*/ 1476088 h 4502315"/>
              <a:gd name="connsiteX1" fmla="*/ 2783347 w 2783347"/>
              <a:gd name="connsiteY1" fmla="*/ 0 h 4502315"/>
              <a:gd name="connsiteX2" fmla="*/ 2781797 w 2783347"/>
              <a:gd name="connsiteY2" fmla="*/ 1676271 h 4502315"/>
              <a:gd name="connsiteX3" fmla="*/ 1609074 w 2783347"/>
              <a:gd name="connsiteY3" fmla="*/ 4502315 h 4502315"/>
              <a:gd name="connsiteX4" fmla="*/ 0 w 2783347"/>
              <a:gd name="connsiteY4" fmla="*/ 1476088 h 4502315"/>
              <a:gd name="connsiteX0" fmla="*/ 0 w 2783347"/>
              <a:gd name="connsiteY0" fmla="*/ 1476088 h 2785258"/>
              <a:gd name="connsiteX1" fmla="*/ 2783347 w 2783347"/>
              <a:gd name="connsiteY1" fmla="*/ 0 h 2785258"/>
              <a:gd name="connsiteX2" fmla="*/ 2781797 w 2783347"/>
              <a:gd name="connsiteY2" fmla="*/ 1676271 h 2785258"/>
              <a:gd name="connsiteX3" fmla="*/ 696098 w 2783347"/>
              <a:gd name="connsiteY3" fmla="*/ 2785258 h 2785258"/>
              <a:gd name="connsiteX4" fmla="*/ 0 w 2783347"/>
              <a:gd name="connsiteY4" fmla="*/ 1476088 h 2785258"/>
              <a:gd name="connsiteX0" fmla="*/ 0 w 2781797"/>
              <a:gd name="connsiteY0" fmla="*/ 2177236 h 3486406"/>
              <a:gd name="connsiteX1" fmla="*/ 2779865 w 2781797"/>
              <a:gd name="connsiteY1" fmla="*/ 0 h 3486406"/>
              <a:gd name="connsiteX2" fmla="*/ 2781797 w 2781797"/>
              <a:gd name="connsiteY2" fmla="*/ 2377419 h 3486406"/>
              <a:gd name="connsiteX3" fmla="*/ 696098 w 2781797"/>
              <a:gd name="connsiteY3" fmla="*/ 3486406 h 3486406"/>
              <a:gd name="connsiteX4" fmla="*/ 0 w 2781797"/>
              <a:gd name="connsiteY4" fmla="*/ 2177236 h 3486406"/>
              <a:gd name="connsiteX0" fmla="*/ 0 w 3065807"/>
              <a:gd name="connsiteY0" fmla="*/ 1643095 h 3486406"/>
              <a:gd name="connsiteX1" fmla="*/ 3063875 w 3065807"/>
              <a:gd name="connsiteY1" fmla="*/ 0 h 3486406"/>
              <a:gd name="connsiteX2" fmla="*/ 3065807 w 3065807"/>
              <a:gd name="connsiteY2" fmla="*/ 2377419 h 3486406"/>
              <a:gd name="connsiteX3" fmla="*/ 980108 w 3065807"/>
              <a:gd name="connsiteY3" fmla="*/ 3486406 h 3486406"/>
              <a:gd name="connsiteX4" fmla="*/ 0 w 3065807"/>
              <a:gd name="connsiteY4" fmla="*/ 1643095 h 3486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5807" h="3486406">
                <a:moveTo>
                  <a:pt x="0" y="1643095"/>
                </a:moveTo>
                <a:lnTo>
                  <a:pt x="3063875" y="0"/>
                </a:lnTo>
                <a:cubicBezTo>
                  <a:pt x="3060307" y="1643337"/>
                  <a:pt x="3065603" y="1944314"/>
                  <a:pt x="3065807" y="2377419"/>
                </a:cubicBezTo>
                <a:lnTo>
                  <a:pt x="980108" y="3486406"/>
                </a:lnTo>
                <a:lnTo>
                  <a:pt x="0" y="1643095"/>
                </a:lnTo>
                <a:close/>
              </a:path>
            </a:pathLst>
          </a:cu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0"/>
          <p:cNvSpPr>
            <a:spLocks noGrp="1"/>
          </p:cNvSpPr>
          <p:nvPr>
            <p:ph type="pic" sz="quarter" idx="10"/>
          </p:nvPr>
        </p:nvSpPr>
        <p:spPr>
          <a:xfrm>
            <a:off x="7210989" y="4159811"/>
            <a:ext cx="4972049" cy="2689225"/>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1416981 w 4972049"/>
              <a:gd name="connsiteY0" fmla="*/ 655637 h 3344862"/>
              <a:gd name="connsiteX1" fmla="*/ 4962524 w 4972049"/>
              <a:gd name="connsiteY1" fmla="*/ 0 h 3344862"/>
              <a:gd name="connsiteX2" fmla="*/ 4972049 w 4972049"/>
              <a:gd name="connsiteY2" fmla="*/ 3344862 h 3344862"/>
              <a:gd name="connsiteX3" fmla="*/ 0 w 4972049"/>
              <a:gd name="connsiteY3" fmla="*/ 3344862 h 3344862"/>
              <a:gd name="connsiteX4" fmla="*/ 1416981 w 4972049"/>
              <a:gd name="connsiteY4" fmla="*/ 655637 h 3344862"/>
              <a:gd name="connsiteX0" fmla="*/ 1416981 w 4972049"/>
              <a:gd name="connsiteY0" fmla="*/ 0 h 2689225"/>
              <a:gd name="connsiteX1" fmla="*/ 4972049 w 4972049"/>
              <a:gd name="connsiteY1" fmla="*/ 0 h 2689225"/>
              <a:gd name="connsiteX2" fmla="*/ 4972049 w 4972049"/>
              <a:gd name="connsiteY2" fmla="*/ 2689225 h 2689225"/>
              <a:gd name="connsiteX3" fmla="*/ 0 w 4972049"/>
              <a:gd name="connsiteY3" fmla="*/ 2689225 h 2689225"/>
              <a:gd name="connsiteX4" fmla="*/ 1416981 w 4972049"/>
              <a:gd name="connsiteY4" fmla="*/ 0 h 2689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2049" h="2689225">
                <a:moveTo>
                  <a:pt x="1416981" y="0"/>
                </a:moveTo>
                <a:lnTo>
                  <a:pt x="4972049" y="0"/>
                </a:lnTo>
                <a:lnTo>
                  <a:pt x="4972049" y="2689225"/>
                </a:lnTo>
                <a:lnTo>
                  <a:pt x="0" y="2689225"/>
                </a:lnTo>
                <a:lnTo>
                  <a:pt x="1416981" y="0"/>
                </a:lnTo>
                <a:close/>
              </a:path>
            </a:pathLst>
          </a:custGeom>
        </p:spPr>
        <p:txBody>
          <a:bodyPr anchor="ctr"/>
          <a:lstStyle>
            <a:lvl1pPr algn="ctr">
              <a:defRPr/>
            </a:lvl1pPr>
          </a:lstStyle>
          <a:p>
            <a:endParaRPr lang="en-US" dirty="0"/>
          </a:p>
        </p:txBody>
      </p:sp>
      <p:sp>
        <p:nvSpPr>
          <p:cNvPr id="3" name="Slide Number Placeholder 2"/>
          <p:cNvSpPr>
            <a:spLocks noGrp="1"/>
          </p:cNvSpPr>
          <p:nvPr>
            <p:ph type="sldNum" sz="quarter" idx="17"/>
          </p:nvPr>
        </p:nvSpPr>
        <p:spPr>
          <a:xfrm>
            <a:off x="10774325" y="6356351"/>
            <a:ext cx="808075" cy="365125"/>
          </a:xfrm>
          <a:prstGeom prst="rect">
            <a:avLst/>
          </a:prstGeom>
        </p:spPr>
        <p:txBody>
          <a:bodyPr/>
          <a:lstStyle/>
          <a:p>
            <a:fld id="{37375A8A-23F4-4063-BF5D-AACA5B32A470}" type="slidenum">
              <a:rPr lang="en-US" smtClean="0"/>
              <a:pPr/>
              <a:t>‹#›</a:t>
            </a:fld>
            <a:endParaRPr lang="en-US" dirty="0"/>
          </a:p>
        </p:txBody>
      </p:sp>
      <p:sp>
        <p:nvSpPr>
          <p:cNvPr id="16" name="Picture Placeholder 16"/>
          <p:cNvSpPr>
            <a:spLocks noGrp="1"/>
          </p:cNvSpPr>
          <p:nvPr>
            <p:ph type="pic" sz="quarter" idx="18" hasCustomPrompt="1"/>
          </p:nvPr>
        </p:nvSpPr>
        <p:spPr>
          <a:xfrm>
            <a:off x="10851621" y="2337418"/>
            <a:ext cx="735013" cy="735013"/>
          </a:xfrm>
          <a:prstGeom prst="rect">
            <a:avLst/>
          </a:prstGeom>
        </p:spPr>
        <p:txBody>
          <a:bodyPr anchor="ctr"/>
          <a:lstStyle>
            <a:lvl1pPr algn="ctr">
              <a:buNone/>
              <a:defRPr sz="1600">
                <a:solidFill>
                  <a:schemeClr val="accent6"/>
                </a:solidFill>
              </a:defRPr>
            </a:lvl1pPr>
          </a:lstStyle>
          <a:p>
            <a:r>
              <a:rPr lang="en-US" dirty="0" smtClean="0"/>
              <a:t>icon</a:t>
            </a:r>
            <a:endParaRPr lang="en-US" dirty="0"/>
          </a:p>
        </p:txBody>
      </p:sp>
      <p:sp>
        <p:nvSpPr>
          <p:cNvPr id="18" name="Text Placeholder 18"/>
          <p:cNvSpPr>
            <a:spLocks noGrp="1"/>
          </p:cNvSpPr>
          <p:nvPr>
            <p:ph type="body" sz="quarter" idx="19"/>
          </p:nvPr>
        </p:nvSpPr>
        <p:spPr>
          <a:xfrm>
            <a:off x="9897534" y="3072431"/>
            <a:ext cx="1689100" cy="579437"/>
          </a:xfrm>
          <a:prstGeom prst="rect">
            <a:avLst/>
          </a:prstGeom>
        </p:spPr>
        <p:txBody>
          <a:bodyPr/>
          <a:lstStyle>
            <a:lvl1pPr algn="r">
              <a:buNone/>
              <a:defRPr sz="1200">
                <a:solidFill>
                  <a:schemeClr val="bg1"/>
                </a:solidFill>
              </a:defRPr>
            </a:lvl1pPr>
            <a:lvl2pPr algn="r">
              <a:defRPr sz="1200">
                <a:solidFill>
                  <a:schemeClr val="accent6"/>
                </a:solidFill>
              </a:defRPr>
            </a:lvl2pPr>
            <a:lvl3pPr algn="r">
              <a:defRPr sz="1200">
                <a:solidFill>
                  <a:schemeClr val="accent6"/>
                </a:solidFill>
              </a:defRPr>
            </a:lvl3pPr>
            <a:lvl4pPr algn="r">
              <a:defRPr sz="1200">
                <a:solidFill>
                  <a:schemeClr val="accent6"/>
                </a:solidFill>
              </a:defRPr>
            </a:lvl4pPr>
            <a:lvl5pPr algn="r">
              <a:defRPr sz="1200">
                <a:solidFill>
                  <a:schemeClr val="accent6"/>
                </a:solidFill>
              </a:defRPr>
            </a:lvl5pPr>
          </a:lstStyle>
          <a:p>
            <a:pPr lvl="0"/>
            <a:endParaRPr 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ctrTitle"/>
          </p:nvPr>
        </p:nvSpPr>
        <p:spPr>
          <a:xfrm>
            <a:off x="601134" y="422275"/>
            <a:ext cx="8235951"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13" name="Text Placeholder 11"/>
          <p:cNvSpPr>
            <a:spLocks noGrp="1"/>
          </p:cNvSpPr>
          <p:nvPr>
            <p:ph type="body" sz="quarter" idx="12"/>
          </p:nvPr>
        </p:nvSpPr>
        <p:spPr>
          <a:xfrm>
            <a:off x="601133" y="800101"/>
            <a:ext cx="8235951"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4" name="Slide Number Placeholder 3"/>
          <p:cNvSpPr>
            <a:spLocks noGrp="1"/>
          </p:cNvSpPr>
          <p:nvPr>
            <p:ph type="sldNum" sz="quarter" idx="14"/>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6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Column Layout">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601132" y="1944688"/>
            <a:ext cx="10960104" cy="4448175"/>
          </a:xfrm>
          <a:prstGeom prst="rect">
            <a:avLst/>
          </a:prstGeom>
        </p:spPr>
        <p:txBody>
          <a:bodyPr lIns="0" tIns="0" rIns="0" bIns="0"/>
          <a:lstStyle>
            <a:lvl1pPr marL="0" indent="0">
              <a:buNone/>
              <a:defRPr sz="1600" b="0">
                <a:solidFill>
                  <a:schemeClr val="tx1"/>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8" name="Title 1"/>
          <p:cNvSpPr>
            <a:spLocks noGrp="1"/>
          </p:cNvSpPr>
          <p:nvPr>
            <p:ph type="ctrTitle"/>
          </p:nvPr>
        </p:nvSpPr>
        <p:spPr>
          <a:xfrm>
            <a:off x="601134" y="422275"/>
            <a:ext cx="8235951"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9" name="Text Placeholder 11"/>
          <p:cNvSpPr>
            <a:spLocks noGrp="1"/>
          </p:cNvSpPr>
          <p:nvPr>
            <p:ph type="body" sz="quarter" idx="12"/>
          </p:nvPr>
        </p:nvSpPr>
        <p:spPr>
          <a:xfrm>
            <a:off x="601133" y="800101"/>
            <a:ext cx="8235951"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14"/>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Column Layout with Image">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601133" y="1944688"/>
            <a:ext cx="5499100" cy="4448175"/>
          </a:xfrm>
          <a:prstGeom prst="rect">
            <a:avLst/>
          </a:prstGeom>
        </p:spPr>
        <p:txBody>
          <a:bodyPr lIns="0" tIns="0" rIns="0" bIns="0"/>
          <a:lstStyle>
            <a:lvl1pPr marL="228600" indent="-228600">
              <a:buNone/>
              <a:defRPr sz="1600">
                <a:solidFill>
                  <a:schemeClr val="tx1"/>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6" name="Picture Placeholder 10"/>
          <p:cNvSpPr>
            <a:spLocks noGrp="1"/>
          </p:cNvSpPr>
          <p:nvPr>
            <p:ph type="pic" sz="quarter" idx="11"/>
          </p:nvPr>
        </p:nvSpPr>
        <p:spPr>
          <a:xfrm>
            <a:off x="5334002" y="1944687"/>
            <a:ext cx="6857999" cy="4913314"/>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2619375 w 4972049"/>
              <a:gd name="connsiteY0" fmla="*/ 0 h 4913313"/>
              <a:gd name="connsiteX1" fmla="*/ 4962524 w 4972049"/>
              <a:gd name="connsiteY1" fmla="*/ 1568451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4972049"/>
              <a:gd name="connsiteY0" fmla="*/ 0 h 4913313"/>
              <a:gd name="connsiteX1" fmla="*/ 4972049 w 4972049"/>
              <a:gd name="connsiteY1" fmla="*/ 2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5143499"/>
              <a:gd name="connsiteY0" fmla="*/ 0 h 4913313"/>
              <a:gd name="connsiteX1" fmla="*/ 5143499 w 5143499"/>
              <a:gd name="connsiteY1" fmla="*/ 0 h 4913313"/>
              <a:gd name="connsiteX2" fmla="*/ 4972049 w 5143499"/>
              <a:gd name="connsiteY2" fmla="*/ 4913313 h 4913313"/>
              <a:gd name="connsiteX3" fmla="*/ 0 w 5143499"/>
              <a:gd name="connsiteY3" fmla="*/ 4913313 h 4913313"/>
              <a:gd name="connsiteX4" fmla="*/ 2619375 w 5143499"/>
              <a:gd name="connsiteY4" fmla="*/ 0 h 4913313"/>
              <a:gd name="connsiteX0" fmla="*/ 2619375 w 5143499"/>
              <a:gd name="connsiteY0" fmla="*/ 0 h 4913314"/>
              <a:gd name="connsiteX1" fmla="*/ 5143499 w 5143499"/>
              <a:gd name="connsiteY1" fmla="*/ 0 h 4913314"/>
              <a:gd name="connsiteX2" fmla="*/ 5143499 w 5143499"/>
              <a:gd name="connsiteY2" fmla="*/ 4913314 h 4913314"/>
              <a:gd name="connsiteX3" fmla="*/ 0 w 5143499"/>
              <a:gd name="connsiteY3" fmla="*/ 4913313 h 4913314"/>
              <a:gd name="connsiteX4" fmla="*/ 2619375 w 5143499"/>
              <a:gd name="connsiteY4" fmla="*/ 0 h 49133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499" h="4913314">
                <a:moveTo>
                  <a:pt x="2619375" y="0"/>
                </a:moveTo>
                <a:lnTo>
                  <a:pt x="5143499" y="0"/>
                </a:lnTo>
                <a:lnTo>
                  <a:pt x="5143499" y="4913314"/>
                </a:lnTo>
                <a:lnTo>
                  <a:pt x="0" y="4913313"/>
                </a:lnTo>
                <a:lnTo>
                  <a:pt x="2619375" y="0"/>
                </a:lnTo>
                <a:close/>
              </a:path>
            </a:pathLst>
          </a:custGeom>
        </p:spPr>
        <p:txBody>
          <a:bodyPr anchor="ctr"/>
          <a:lstStyle>
            <a:lvl1pPr algn="ctr">
              <a:defRPr/>
            </a:lvl1pPr>
          </a:lstStyle>
          <a:p>
            <a:endParaRPr lang="en-US" dirty="0"/>
          </a:p>
        </p:txBody>
      </p:sp>
      <p:sp>
        <p:nvSpPr>
          <p:cNvPr id="8" name="Title 1"/>
          <p:cNvSpPr>
            <a:spLocks noGrp="1"/>
          </p:cNvSpPr>
          <p:nvPr>
            <p:ph type="ctrTitle"/>
          </p:nvPr>
        </p:nvSpPr>
        <p:spPr>
          <a:xfrm>
            <a:off x="601134" y="422275"/>
            <a:ext cx="8235951"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9" name="Text Placeholder 11"/>
          <p:cNvSpPr>
            <a:spLocks noGrp="1"/>
          </p:cNvSpPr>
          <p:nvPr>
            <p:ph type="body" sz="quarter" idx="12"/>
          </p:nvPr>
        </p:nvSpPr>
        <p:spPr>
          <a:xfrm>
            <a:off x="601133" y="800101"/>
            <a:ext cx="8235951"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14"/>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Column Layout with Multiple Image">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601132" y="1944688"/>
            <a:ext cx="5499101" cy="4448175"/>
          </a:xfrm>
          <a:prstGeom prst="rect">
            <a:avLst/>
          </a:prstGeom>
        </p:spPr>
        <p:txBody>
          <a:bodyPr lIns="0" tIns="0" rIns="0" bIns="0"/>
          <a:lstStyle>
            <a:lvl1pPr marL="228600" indent="-228600">
              <a:buNone/>
              <a:defRPr sz="1600">
                <a:solidFill>
                  <a:schemeClr val="tx1"/>
                </a:solidFill>
              </a:defRPr>
            </a:lvl1pPr>
            <a:lvl2pPr marL="457200" indent="-228600">
              <a:defRPr sz="1600">
                <a:solidFill>
                  <a:schemeClr val="tx2"/>
                </a:solidFill>
              </a:defRPr>
            </a:lvl2pPr>
            <a:lvl3pPr marL="685800" indent="-228600">
              <a:defRPr sz="1600">
                <a:solidFill>
                  <a:schemeClr val="tx2"/>
                </a:solidFill>
              </a:defRPr>
            </a:lvl3pPr>
            <a:lvl4pPr marL="914400" indent="-228600">
              <a:defRPr sz="1600">
                <a:solidFill>
                  <a:schemeClr val="tx2"/>
                </a:solidFill>
              </a:defRPr>
            </a:lvl4pPr>
            <a:lvl5pPr marL="1143000" indent="-228600">
              <a:defRPr sz="1600">
                <a:solidFill>
                  <a:schemeClr val="tx2"/>
                </a:solidFill>
              </a:defRPr>
            </a:lvl5pPr>
          </a:lstStyle>
          <a:p>
            <a:pPr lvl="0"/>
            <a:endParaRPr lang="en-US" dirty="0"/>
          </a:p>
        </p:txBody>
      </p:sp>
      <p:sp>
        <p:nvSpPr>
          <p:cNvPr id="8" name="Picture Placeholder 10"/>
          <p:cNvSpPr>
            <a:spLocks noGrp="1"/>
          </p:cNvSpPr>
          <p:nvPr>
            <p:ph type="pic" sz="quarter" idx="11"/>
          </p:nvPr>
        </p:nvSpPr>
        <p:spPr>
          <a:xfrm>
            <a:off x="5334002" y="3427413"/>
            <a:ext cx="6857999" cy="3430588"/>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2619375 w 4972049"/>
              <a:gd name="connsiteY0" fmla="*/ 0 h 4913313"/>
              <a:gd name="connsiteX1" fmla="*/ 4962524 w 4972049"/>
              <a:gd name="connsiteY1" fmla="*/ 1568451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4972049"/>
              <a:gd name="connsiteY0" fmla="*/ 0 h 4913313"/>
              <a:gd name="connsiteX1" fmla="*/ 4972049 w 4972049"/>
              <a:gd name="connsiteY1" fmla="*/ 2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5143499"/>
              <a:gd name="connsiteY0" fmla="*/ 0 h 4913313"/>
              <a:gd name="connsiteX1" fmla="*/ 5143499 w 5143499"/>
              <a:gd name="connsiteY1" fmla="*/ 0 h 4913313"/>
              <a:gd name="connsiteX2" fmla="*/ 4972049 w 5143499"/>
              <a:gd name="connsiteY2" fmla="*/ 4913313 h 4913313"/>
              <a:gd name="connsiteX3" fmla="*/ 0 w 5143499"/>
              <a:gd name="connsiteY3" fmla="*/ 4913313 h 4913313"/>
              <a:gd name="connsiteX4" fmla="*/ 2619375 w 5143499"/>
              <a:gd name="connsiteY4" fmla="*/ 0 h 4913313"/>
              <a:gd name="connsiteX0" fmla="*/ 2619375 w 5143499"/>
              <a:gd name="connsiteY0" fmla="*/ 0 h 4913314"/>
              <a:gd name="connsiteX1" fmla="*/ 5143499 w 5143499"/>
              <a:gd name="connsiteY1" fmla="*/ 0 h 4913314"/>
              <a:gd name="connsiteX2" fmla="*/ 5143499 w 5143499"/>
              <a:gd name="connsiteY2" fmla="*/ 4913314 h 4913314"/>
              <a:gd name="connsiteX3" fmla="*/ 0 w 5143499"/>
              <a:gd name="connsiteY3" fmla="*/ 4913313 h 4913314"/>
              <a:gd name="connsiteX4" fmla="*/ 2619375 w 5143499"/>
              <a:gd name="connsiteY4" fmla="*/ 0 h 4913314"/>
              <a:gd name="connsiteX0" fmla="*/ 1820862 w 5143499"/>
              <a:gd name="connsiteY0" fmla="*/ 1482726 h 4913314"/>
              <a:gd name="connsiteX1" fmla="*/ 5143499 w 5143499"/>
              <a:gd name="connsiteY1" fmla="*/ 0 h 4913314"/>
              <a:gd name="connsiteX2" fmla="*/ 5143499 w 5143499"/>
              <a:gd name="connsiteY2" fmla="*/ 4913314 h 4913314"/>
              <a:gd name="connsiteX3" fmla="*/ 0 w 5143499"/>
              <a:gd name="connsiteY3" fmla="*/ 4913313 h 4913314"/>
              <a:gd name="connsiteX4" fmla="*/ 1820862 w 5143499"/>
              <a:gd name="connsiteY4" fmla="*/ 1482726 h 4913314"/>
              <a:gd name="connsiteX0" fmla="*/ 1820862 w 5143499"/>
              <a:gd name="connsiteY0" fmla="*/ 0 h 3430588"/>
              <a:gd name="connsiteX1" fmla="*/ 5143499 w 5143499"/>
              <a:gd name="connsiteY1" fmla="*/ 0 h 3430588"/>
              <a:gd name="connsiteX2" fmla="*/ 5143499 w 5143499"/>
              <a:gd name="connsiteY2" fmla="*/ 3430588 h 3430588"/>
              <a:gd name="connsiteX3" fmla="*/ 0 w 5143499"/>
              <a:gd name="connsiteY3" fmla="*/ 3430587 h 3430588"/>
              <a:gd name="connsiteX4" fmla="*/ 1820862 w 5143499"/>
              <a:gd name="connsiteY4" fmla="*/ 0 h 3430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499" h="3430588">
                <a:moveTo>
                  <a:pt x="1820862" y="0"/>
                </a:moveTo>
                <a:lnTo>
                  <a:pt x="5143499" y="0"/>
                </a:lnTo>
                <a:lnTo>
                  <a:pt x="5143499" y="3430588"/>
                </a:lnTo>
                <a:lnTo>
                  <a:pt x="0" y="3430587"/>
                </a:lnTo>
                <a:lnTo>
                  <a:pt x="1820862" y="0"/>
                </a:lnTo>
                <a:close/>
              </a:path>
            </a:pathLst>
          </a:custGeom>
        </p:spPr>
        <p:txBody>
          <a:bodyPr anchor="ctr"/>
          <a:lstStyle>
            <a:lvl1pPr algn="ctr">
              <a:defRPr/>
            </a:lvl1pPr>
          </a:lstStyle>
          <a:p>
            <a:endParaRPr lang="en-US"/>
          </a:p>
        </p:txBody>
      </p:sp>
      <p:sp>
        <p:nvSpPr>
          <p:cNvPr id="9" name="Picture Placeholder 10"/>
          <p:cNvSpPr>
            <a:spLocks noGrp="1"/>
          </p:cNvSpPr>
          <p:nvPr>
            <p:ph type="pic" sz="quarter" idx="13"/>
          </p:nvPr>
        </p:nvSpPr>
        <p:spPr>
          <a:xfrm>
            <a:off x="7861301" y="1944687"/>
            <a:ext cx="4330699" cy="1349376"/>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2619375 w 4972049"/>
              <a:gd name="connsiteY0" fmla="*/ 0 h 4913313"/>
              <a:gd name="connsiteX1" fmla="*/ 4962524 w 4972049"/>
              <a:gd name="connsiteY1" fmla="*/ 1568451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4972049"/>
              <a:gd name="connsiteY0" fmla="*/ 0 h 4913313"/>
              <a:gd name="connsiteX1" fmla="*/ 4972049 w 4972049"/>
              <a:gd name="connsiteY1" fmla="*/ 2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5143499"/>
              <a:gd name="connsiteY0" fmla="*/ 0 h 4913313"/>
              <a:gd name="connsiteX1" fmla="*/ 5143499 w 5143499"/>
              <a:gd name="connsiteY1" fmla="*/ 0 h 4913313"/>
              <a:gd name="connsiteX2" fmla="*/ 4972049 w 5143499"/>
              <a:gd name="connsiteY2" fmla="*/ 4913313 h 4913313"/>
              <a:gd name="connsiteX3" fmla="*/ 0 w 5143499"/>
              <a:gd name="connsiteY3" fmla="*/ 4913313 h 4913313"/>
              <a:gd name="connsiteX4" fmla="*/ 2619375 w 5143499"/>
              <a:gd name="connsiteY4" fmla="*/ 0 h 4913313"/>
              <a:gd name="connsiteX0" fmla="*/ 2619375 w 5143499"/>
              <a:gd name="connsiteY0" fmla="*/ 0 h 4913314"/>
              <a:gd name="connsiteX1" fmla="*/ 5143499 w 5143499"/>
              <a:gd name="connsiteY1" fmla="*/ 0 h 4913314"/>
              <a:gd name="connsiteX2" fmla="*/ 5143499 w 5143499"/>
              <a:gd name="connsiteY2" fmla="*/ 4913314 h 4913314"/>
              <a:gd name="connsiteX3" fmla="*/ 0 w 5143499"/>
              <a:gd name="connsiteY3" fmla="*/ 4913313 h 4913314"/>
              <a:gd name="connsiteX4" fmla="*/ 2619375 w 5143499"/>
              <a:gd name="connsiteY4" fmla="*/ 0 h 4913314"/>
              <a:gd name="connsiteX0" fmla="*/ 1820862 w 5143499"/>
              <a:gd name="connsiteY0" fmla="*/ 1482726 h 4913314"/>
              <a:gd name="connsiteX1" fmla="*/ 5143499 w 5143499"/>
              <a:gd name="connsiteY1" fmla="*/ 0 h 4913314"/>
              <a:gd name="connsiteX2" fmla="*/ 5143499 w 5143499"/>
              <a:gd name="connsiteY2" fmla="*/ 4913314 h 4913314"/>
              <a:gd name="connsiteX3" fmla="*/ 0 w 5143499"/>
              <a:gd name="connsiteY3" fmla="*/ 4913313 h 4913314"/>
              <a:gd name="connsiteX4" fmla="*/ 1820862 w 5143499"/>
              <a:gd name="connsiteY4" fmla="*/ 1482726 h 4913314"/>
              <a:gd name="connsiteX0" fmla="*/ 1820862 w 5143499"/>
              <a:gd name="connsiteY0" fmla="*/ 0 h 3430588"/>
              <a:gd name="connsiteX1" fmla="*/ 5143499 w 5143499"/>
              <a:gd name="connsiteY1" fmla="*/ 0 h 3430588"/>
              <a:gd name="connsiteX2" fmla="*/ 5143499 w 5143499"/>
              <a:gd name="connsiteY2" fmla="*/ 3430588 h 3430588"/>
              <a:gd name="connsiteX3" fmla="*/ 0 w 5143499"/>
              <a:gd name="connsiteY3" fmla="*/ 3430587 h 3430588"/>
              <a:gd name="connsiteX4" fmla="*/ 1820862 w 5143499"/>
              <a:gd name="connsiteY4" fmla="*/ 0 h 3430588"/>
              <a:gd name="connsiteX0" fmla="*/ 731837 w 5143499"/>
              <a:gd name="connsiteY0" fmla="*/ 2081212 h 3430588"/>
              <a:gd name="connsiteX1" fmla="*/ 5143499 w 5143499"/>
              <a:gd name="connsiteY1" fmla="*/ 0 h 3430588"/>
              <a:gd name="connsiteX2" fmla="*/ 5143499 w 5143499"/>
              <a:gd name="connsiteY2" fmla="*/ 3430588 h 3430588"/>
              <a:gd name="connsiteX3" fmla="*/ 0 w 5143499"/>
              <a:gd name="connsiteY3" fmla="*/ 3430587 h 3430588"/>
              <a:gd name="connsiteX4" fmla="*/ 731837 w 5143499"/>
              <a:gd name="connsiteY4" fmla="*/ 2081212 h 3430588"/>
              <a:gd name="connsiteX0" fmla="*/ 731837 w 5143499"/>
              <a:gd name="connsiteY0" fmla="*/ 0 h 1349376"/>
              <a:gd name="connsiteX1" fmla="*/ 3022599 w 5143499"/>
              <a:gd name="connsiteY1" fmla="*/ 0 h 1349376"/>
              <a:gd name="connsiteX2" fmla="*/ 5143499 w 5143499"/>
              <a:gd name="connsiteY2" fmla="*/ 1349376 h 1349376"/>
              <a:gd name="connsiteX3" fmla="*/ 0 w 5143499"/>
              <a:gd name="connsiteY3" fmla="*/ 1349375 h 1349376"/>
              <a:gd name="connsiteX4" fmla="*/ 731837 w 5143499"/>
              <a:gd name="connsiteY4" fmla="*/ 0 h 1349376"/>
              <a:gd name="connsiteX0" fmla="*/ 731837 w 3248024"/>
              <a:gd name="connsiteY0" fmla="*/ 0 h 1349376"/>
              <a:gd name="connsiteX1" fmla="*/ 3022599 w 3248024"/>
              <a:gd name="connsiteY1" fmla="*/ 0 h 1349376"/>
              <a:gd name="connsiteX2" fmla="*/ 3248024 w 3248024"/>
              <a:gd name="connsiteY2" fmla="*/ 1349376 h 1349376"/>
              <a:gd name="connsiteX3" fmla="*/ 0 w 3248024"/>
              <a:gd name="connsiteY3" fmla="*/ 1349375 h 1349376"/>
              <a:gd name="connsiteX4" fmla="*/ 731837 w 3248024"/>
              <a:gd name="connsiteY4" fmla="*/ 0 h 1349376"/>
              <a:gd name="connsiteX0" fmla="*/ 731837 w 3248024"/>
              <a:gd name="connsiteY0" fmla="*/ 0 h 1349376"/>
              <a:gd name="connsiteX1" fmla="*/ 3248024 w 3248024"/>
              <a:gd name="connsiteY1" fmla="*/ 0 h 1349376"/>
              <a:gd name="connsiteX2" fmla="*/ 3248024 w 3248024"/>
              <a:gd name="connsiteY2" fmla="*/ 1349376 h 1349376"/>
              <a:gd name="connsiteX3" fmla="*/ 0 w 3248024"/>
              <a:gd name="connsiteY3" fmla="*/ 1349375 h 1349376"/>
              <a:gd name="connsiteX4" fmla="*/ 731837 w 3248024"/>
              <a:gd name="connsiteY4" fmla="*/ 0 h 1349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8024" h="1349376">
                <a:moveTo>
                  <a:pt x="731837" y="0"/>
                </a:moveTo>
                <a:lnTo>
                  <a:pt x="3248024" y="0"/>
                </a:lnTo>
                <a:lnTo>
                  <a:pt x="3248024" y="1349376"/>
                </a:lnTo>
                <a:lnTo>
                  <a:pt x="0" y="1349375"/>
                </a:lnTo>
                <a:lnTo>
                  <a:pt x="731837" y="0"/>
                </a:lnTo>
                <a:close/>
              </a:path>
            </a:pathLst>
          </a:custGeom>
        </p:spPr>
        <p:txBody>
          <a:bodyPr anchor="ctr"/>
          <a:lstStyle>
            <a:lvl1pPr algn="ctr">
              <a:defRPr/>
            </a:lvl1pPr>
          </a:lstStyle>
          <a:p>
            <a:endParaRPr lang="en-US"/>
          </a:p>
        </p:txBody>
      </p:sp>
      <p:sp>
        <p:nvSpPr>
          <p:cNvPr id="11" name="Title 1"/>
          <p:cNvSpPr>
            <a:spLocks noGrp="1"/>
          </p:cNvSpPr>
          <p:nvPr>
            <p:ph type="ctrTitle"/>
          </p:nvPr>
        </p:nvSpPr>
        <p:spPr>
          <a:xfrm>
            <a:off x="601134" y="422275"/>
            <a:ext cx="8235951" cy="377825"/>
          </a:xfrm>
          <a:prstGeom prst="rect">
            <a:avLst/>
          </a:prstGeom>
        </p:spPr>
        <p:txBody>
          <a:bodyPr lIns="0" tIns="0" rIns="0" bIns="0" anchor="t"/>
          <a:lstStyle>
            <a:lvl1pPr algn="l">
              <a:defRPr sz="2400">
                <a:solidFill>
                  <a:schemeClr val="accent6"/>
                </a:solidFill>
                <a:latin typeface="Arial" pitchFamily="34" charset="0"/>
                <a:cs typeface="Arial" pitchFamily="34" charset="0"/>
              </a:defRPr>
            </a:lvl1pPr>
          </a:lstStyle>
          <a:p>
            <a:r>
              <a:rPr lang="en-US" dirty="0" smtClean="0"/>
              <a:t>Click to edit Master title style</a:t>
            </a:r>
            <a:endParaRPr lang="en-US" dirty="0"/>
          </a:p>
        </p:txBody>
      </p:sp>
      <p:sp>
        <p:nvSpPr>
          <p:cNvPr id="12" name="Text Placeholder 11"/>
          <p:cNvSpPr>
            <a:spLocks noGrp="1"/>
          </p:cNvSpPr>
          <p:nvPr>
            <p:ph type="body" sz="quarter" idx="12"/>
          </p:nvPr>
        </p:nvSpPr>
        <p:spPr>
          <a:xfrm>
            <a:off x="601133" y="800101"/>
            <a:ext cx="8235951" cy="409575"/>
          </a:xfrm>
          <a:prstGeom prst="rect">
            <a:avLst/>
          </a:prstGeom>
        </p:spPr>
        <p:txBody>
          <a:bodyPr lIns="0" tIns="0" rIns="0" bIns="0" anchor="ctr"/>
          <a:lstStyle>
            <a:lvl1pPr>
              <a:buNone/>
              <a:defRPr sz="1600">
                <a:solidFill>
                  <a:schemeClr val="accent1"/>
                </a:solidFill>
              </a:defRPr>
            </a:lvl1pPr>
            <a:lvl2pPr>
              <a:defRPr sz="1600">
                <a:solidFill>
                  <a:schemeClr val="accent6"/>
                </a:solidFill>
              </a:defRPr>
            </a:lvl2pPr>
            <a:lvl3pPr>
              <a:defRPr sz="1600">
                <a:solidFill>
                  <a:schemeClr val="accent6"/>
                </a:solidFill>
              </a:defRPr>
            </a:lvl3pPr>
            <a:lvl4pPr>
              <a:defRPr sz="1600">
                <a:solidFill>
                  <a:schemeClr val="accent6"/>
                </a:solidFill>
              </a:defRPr>
            </a:lvl4pPr>
            <a:lvl5pPr>
              <a:defRPr sz="1600">
                <a:solidFill>
                  <a:schemeClr val="accent6"/>
                </a:solidFill>
              </a:defRPr>
            </a:lvl5pPr>
          </a:lstStyle>
          <a:p>
            <a:pPr lvl="0"/>
            <a:endParaRPr lang="en-US" dirty="0"/>
          </a:p>
        </p:txBody>
      </p:sp>
      <p:sp>
        <p:nvSpPr>
          <p:cNvPr id="3" name="Slide Number Placeholder 2"/>
          <p:cNvSpPr>
            <a:spLocks noGrp="1"/>
          </p:cNvSpPr>
          <p:nvPr>
            <p:ph type="sldNum" sz="quarter" idx="15"/>
          </p:nvPr>
        </p:nvSpPr>
        <p:spPr/>
        <p:txBody>
          <a:bodyPr/>
          <a:lstStyle/>
          <a:p>
            <a:fld id="{37375A8A-23F4-4063-BF5D-AACA5B32A470}" type="slidenum">
              <a:rPr lang="en-US" smtClean="0"/>
              <a:pPr/>
              <a:t>‹#›</a:t>
            </a:fld>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theme" Target="../theme/theme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6" cstate="email">
            <a:extLst>
              <a:ext uri="{28A0092B-C50C-407E-A947-70E740481C1C}">
                <a14:useLocalDpi xmlns:a14="http://schemas.microsoft.com/office/drawing/2010/main"/>
              </a:ext>
            </a:extLst>
          </a:blip>
          <a:stretch>
            <a:fillRect/>
          </a:stretch>
        </p:blipFill>
        <p:spPr bwMode="auto">
          <a:xfrm>
            <a:off x="1032476" y="650815"/>
            <a:ext cx="2407295" cy="505532"/>
          </a:xfrm>
          <a:prstGeom prst="rect">
            <a:avLst/>
          </a:prstGeom>
          <a:noFill/>
          <a:extLst>
            <a:ext uri="{909E8E84-426E-40dd-AFC4-6F175D3DCCD1}">
              <a14:hiddenFill xmlns:a14="http://schemas.microsoft.com/office/drawing/2010/main" xmlns="">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729" r:id="rId1"/>
    <p:sldLayoutId id="2147483730" r:id="rId2"/>
    <p:sldLayoutId id="2147483735" r:id="rId3"/>
    <p:sldLayoutId id="2147483736" r:id="rId4"/>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3" name="Straight Connector 2"/>
          <p:cNvCxnSpPr/>
          <p:nvPr/>
        </p:nvCxnSpPr>
        <p:spPr>
          <a:xfrm>
            <a:off x="601133" y="1232117"/>
            <a:ext cx="10981267" cy="0"/>
          </a:xfrm>
          <a:prstGeom prst="line">
            <a:avLst/>
          </a:prstGeom>
          <a:ln w="6350">
            <a:solidFill>
              <a:srgbClr val="A7A8AA"/>
            </a:solidFill>
          </a:ln>
        </p:spPr>
        <p:style>
          <a:lnRef idx="1">
            <a:schemeClr val="accent2"/>
          </a:lnRef>
          <a:fillRef idx="0">
            <a:schemeClr val="accent2"/>
          </a:fillRef>
          <a:effectRef idx="0">
            <a:schemeClr val="accent2"/>
          </a:effectRef>
          <a:fontRef idx="minor">
            <a:schemeClr val="tx1"/>
          </a:fontRef>
        </p:style>
      </p:cxnSp>
      <p:sp>
        <p:nvSpPr>
          <p:cNvPr id="4" name="Slide Number Placeholder 3"/>
          <p:cNvSpPr>
            <a:spLocks noGrp="1"/>
          </p:cNvSpPr>
          <p:nvPr>
            <p:ph type="sldNum" sz="quarter" idx="4"/>
          </p:nvPr>
        </p:nvSpPr>
        <p:spPr>
          <a:xfrm>
            <a:off x="10774325" y="6356351"/>
            <a:ext cx="808075"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37375A8A-23F4-4063-BF5D-AACA5B32A470}" type="slidenum">
              <a:rPr lang="en-US" smtClean="0"/>
              <a:pPr/>
              <a:t>‹#›</a:t>
            </a:fld>
            <a:endParaRPr lang="en-US" dirty="0"/>
          </a:p>
        </p:txBody>
      </p:sp>
      <p:sp>
        <p:nvSpPr>
          <p:cNvPr id="10" name="TextBox 9"/>
          <p:cNvSpPr txBox="1"/>
          <p:nvPr userDrawn="1"/>
        </p:nvSpPr>
        <p:spPr>
          <a:xfrm>
            <a:off x="601134" y="6420149"/>
            <a:ext cx="4961860" cy="246221"/>
          </a:xfrm>
          <a:prstGeom prst="rect">
            <a:avLst/>
          </a:prstGeom>
          <a:noFill/>
        </p:spPr>
        <p:txBody>
          <a:bodyPr wrap="square" rtlCol="0">
            <a:spAutoFit/>
          </a:bodyPr>
          <a:lstStyle/>
          <a:p>
            <a:r>
              <a:rPr lang="en-US" sz="1000" dirty="0" smtClean="0"/>
              <a:t>Cushman &amp; Wakefield</a:t>
            </a:r>
          </a:p>
        </p:txBody>
      </p:sp>
    </p:spTree>
  </p:cSld>
  <p:clrMap bg1="lt1" tx1="dk1" bg2="lt2" tx2="dk2" accent1="accent1" accent2="accent2" accent3="accent3" accent4="accent4" accent5="accent5" accent6="accent6" hlink="hlink" folHlink="folHlink"/>
  <p:sldLayoutIdLst>
    <p:sldLayoutId id="2147483690" r:id="rId1"/>
    <p:sldLayoutId id="2147483678" r:id="rId2"/>
    <p:sldLayoutId id="2147483691"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9" r:id="rId13"/>
    <p:sldLayoutId id="2147483711" r:id="rId14"/>
    <p:sldLayoutId id="2147483713" r:id="rId15"/>
    <p:sldLayoutId id="2147483721" r:id="rId16"/>
    <p:sldLayoutId id="2147483737" r:id="rId17"/>
  </p:sldLayoutIdLst>
  <p:timing>
    <p:tnLst>
      <p:par>
        <p:cTn id="1" dur="indefinite" restart="never" nodeType="tmRoot"/>
      </p:par>
    </p:tnLst>
  </p:timing>
  <p:hf hdr="0" ftr="0" dt="0"/>
  <p:txStyles>
    <p:titleStyle>
      <a:lvl1pPr algn="l" defTabSz="914400" rtl="0" eaLnBrk="1" latinLnBrk="0" hangingPunct="1">
        <a:spcBef>
          <a:spcPct val="0"/>
        </a:spcBef>
        <a:buNone/>
        <a:defRPr sz="2400" kern="1200">
          <a:solidFill>
            <a:schemeClr val="accent6"/>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15.emf"/><Relationship Id="rId4" Type="http://schemas.openxmlformats.org/officeDocument/2006/relationships/image" Target="../media/image14.emf"/></Relationships>
</file>

<file path=ppt/slides/_rels/slide12.xml.rels><?xml version="1.0" encoding="UTF-8" standalone="yes"?>
<Relationships xmlns="http://schemas.openxmlformats.org/package/2006/relationships"><Relationship Id="rId3" Type="http://schemas.openxmlformats.org/officeDocument/2006/relationships/hyperlink" Target="mailto:Marina.Smirnova@eur.cushwake.com" TargetMode="External"/><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10.jpg"/></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chart" Target="../charts/char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Placeholder 36"/>
          <p:cNvPicPr>
            <a:picLocks noGrp="1" noChangeAspect="1"/>
          </p:cNvPicPr>
          <p:nvPr>
            <p:ph type="pic" sz="quarter" idx="4294967295"/>
          </p:nvPr>
        </p:nvPicPr>
        <p:blipFill rotWithShape="1">
          <a:blip r:embed="rId3" cstate="email">
            <a:extLst>
              <a:ext uri="{28A0092B-C50C-407E-A947-70E740481C1C}">
                <a14:useLocalDpi xmlns:a14="http://schemas.microsoft.com/office/drawing/2010/main"/>
              </a:ext>
            </a:extLst>
          </a:blip>
          <a:srcRect/>
          <a:stretch/>
        </p:blipFill>
        <p:spPr>
          <a:xfrm flipH="1">
            <a:off x="-10886" y="-21771"/>
            <a:ext cx="12192000" cy="6901543"/>
          </a:xfrm>
          <a:prstGeom prst="rect">
            <a:avLst/>
          </a:prstGeom>
        </p:spPr>
      </p:pic>
      <p:sp>
        <p:nvSpPr>
          <p:cNvPr id="7" name="Freeform 6"/>
          <p:cNvSpPr/>
          <p:nvPr/>
        </p:nvSpPr>
        <p:spPr>
          <a:xfrm rot="1680000">
            <a:off x="-583312" y="-516990"/>
            <a:ext cx="7665659" cy="8573924"/>
          </a:xfrm>
          <a:custGeom>
            <a:avLst/>
            <a:gdLst>
              <a:gd name="connsiteX0" fmla="*/ 0 w 431321"/>
              <a:gd name="connsiteY0" fmla="*/ 0 h 3278038"/>
              <a:gd name="connsiteX1" fmla="*/ 431321 w 431321"/>
              <a:gd name="connsiteY1" fmla="*/ 0 h 3278038"/>
              <a:gd name="connsiteX2" fmla="*/ 431321 w 431321"/>
              <a:gd name="connsiteY2" fmla="*/ 3278038 h 3278038"/>
              <a:gd name="connsiteX3" fmla="*/ 0 w 431321"/>
              <a:gd name="connsiteY3" fmla="*/ 3278038 h 3278038"/>
              <a:gd name="connsiteX4" fmla="*/ 0 w 431321"/>
              <a:gd name="connsiteY4" fmla="*/ 0 h 3278038"/>
              <a:gd name="connsiteX0" fmla="*/ 0 w 1952909"/>
              <a:gd name="connsiteY0" fmla="*/ 1033753 h 3278038"/>
              <a:gd name="connsiteX1" fmla="*/ 1952909 w 1952909"/>
              <a:gd name="connsiteY1" fmla="*/ 0 h 3278038"/>
              <a:gd name="connsiteX2" fmla="*/ 1952909 w 1952909"/>
              <a:gd name="connsiteY2" fmla="*/ 3278038 h 3278038"/>
              <a:gd name="connsiteX3" fmla="*/ 1521588 w 1952909"/>
              <a:gd name="connsiteY3" fmla="*/ 3278038 h 3278038"/>
              <a:gd name="connsiteX4" fmla="*/ 0 w 1952909"/>
              <a:gd name="connsiteY4" fmla="*/ 1033753 h 3278038"/>
              <a:gd name="connsiteX0" fmla="*/ 0 w 3541702"/>
              <a:gd name="connsiteY0" fmla="*/ 1888300 h 3278038"/>
              <a:gd name="connsiteX1" fmla="*/ 3541702 w 3541702"/>
              <a:gd name="connsiteY1" fmla="*/ 0 h 3278038"/>
              <a:gd name="connsiteX2" fmla="*/ 3541702 w 3541702"/>
              <a:gd name="connsiteY2" fmla="*/ 3278038 h 3278038"/>
              <a:gd name="connsiteX3" fmla="*/ 3110381 w 3541702"/>
              <a:gd name="connsiteY3" fmla="*/ 3278038 h 3278038"/>
              <a:gd name="connsiteX4" fmla="*/ 0 w 3541702"/>
              <a:gd name="connsiteY4" fmla="*/ 1888300 h 3278038"/>
              <a:gd name="connsiteX0" fmla="*/ 0 w 3541702"/>
              <a:gd name="connsiteY0" fmla="*/ 1888300 h 5723271"/>
              <a:gd name="connsiteX1" fmla="*/ 3541702 w 3541702"/>
              <a:gd name="connsiteY1" fmla="*/ 0 h 5723271"/>
              <a:gd name="connsiteX2" fmla="*/ 3541702 w 3541702"/>
              <a:gd name="connsiteY2" fmla="*/ 3278038 h 5723271"/>
              <a:gd name="connsiteX3" fmla="*/ 2039089 w 3541702"/>
              <a:gd name="connsiteY3" fmla="*/ 5723271 h 5723271"/>
              <a:gd name="connsiteX4" fmla="*/ 0 w 3541702"/>
              <a:gd name="connsiteY4" fmla="*/ 1888300 h 5723271"/>
              <a:gd name="connsiteX0" fmla="*/ 0 w 3541702"/>
              <a:gd name="connsiteY0" fmla="*/ 1888300 h 5723271"/>
              <a:gd name="connsiteX1" fmla="*/ 3541702 w 3541702"/>
              <a:gd name="connsiteY1" fmla="*/ 0 h 5723271"/>
              <a:gd name="connsiteX2" fmla="*/ 3530999 w 3541702"/>
              <a:gd name="connsiteY2" fmla="*/ 4930010 h 5723271"/>
              <a:gd name="connsiteX3" fmla="*/ 2039089 w 3541702"/>
              <a:gd name="connsiteY3" fmla="*/ 5723271 h 5723271"/>
              <a:gd name="connsiteX4" fmla="*/ 0 w 3541702"/>
              <a:gd name="connsiteY4" fmla="*/ 1888300 h 5723271"/>
              <a:gd name="connsiteX0" fmla="*/ 0 w 5020365"/>
              <a:gd name="connsiteY0" fmla="*/ 2673844 h 5723271"/>
              <a:gd name="connsiteX1" fmla="*/ 5020365 w 5020365"/>
              <a:gd name="connsiteY1" fmla="*/ 0 h 5723271"/>
              <a:gd name="connsiteX2" fmla="*/ 5009662 w 5020365"/>
              <a:gd name="connsiteY2" fmla="*/ 4930010 h 5723271"/>
              <a:gd name="connsiteX3" fmla="*/ 3517752 w 5020365"/>
              <a:gd name="connsiteY3" fmla="*/ 5723271 h 5723271"/>
              <a:gd name="connsiteX4" fmla="*/ 0 w 5020365"/>
              <a:gd name="connsiteY4" fmla="*/ 2673844 h 5723271"/>
              <a:gd name="connsiteX0" fmla="*/ 0 w 5020365"/>
              <a:gd name="connsiteY0" fmla="*/ 2673844 h 7012041"/>
              <a:gd name="connsiteX1" fmla="*/ 5020365 w 5020365"/>
              <a:gd name="connsiteY1" fmla="*/ 0 h 7012041"/>
              <a:gd name="connsiteX2" fmla="*/ 5009662 w 5020365"/>
              <a:gd name="connsiteY2" fmla="*/ 4930010 h 7012041"/>
              <a:gd name="connsiteX3" fmla="*/ 2306660 w 5020365"/>
              <a:gd name="connsiteY3" fmla="*/ 7012041 h 7012041"/>
              <a:gd name="connsiteX4" fmla="*/ 0 w 5020365"/>
              <a:gd name="connsiteY4" fmla="*/ 2673844 h 7012041"/>
              <a:gd name="connsiteX0" fmla="*/ 0 w 5021554"/>
              <a:gd name="connsiteY0" fmla="*/ 2673844 h 7012041"/>
              <a:gd name="connsiteX1" fmla="*/ 5020365 w 5021554"/>
              <a:gd name="connsiteY1" fmla="*/ 0 h 7012041"/>
              <a:gd name="connsiteX2" fmla="*/ 5017986 w 5021554"/>
              <a:gd name="connsiteY2" fmla="*/ 5570404 h 7012041"/>
              <a:gd name="connsiteX3" fmla="*/ 2306660 w 5021554"/>
              <a:gd name="connsiteY3" fmla="*/ 7012041 h 7012041"/>
              <a:gd name="connsiteX4" fmla="*/ 0 w 5021554"/>
              <a:gd name="connsiteY4" fmla="*/ 2673844 h 7012041"/>
              <a:gd name="connsiteX0" fmla="*/ 0 w 5850422"/>
              <a:gd name="connsiteY0" fmla="*/ 3114561 h 7012041"/>
              <a:gd name="connsiteX1" fmla="*/ 5849233 w 5850422"/>
              <a:gd name="connsiteY1" fmla="*/ 0 h 7012041"/>
              <a:gd name="connsiteX2" fmla="*/ 5846854 w 5850422"/>
              <a:gd name="connsiteY2" fmla="*/ 5570404 h 7012041"/>
              <a:gd name="connsiteX3" fmla="*/ 3135528 w 5850422"/>
              <a:gd name="connsiteY3" fmla="*/ 7012041 h 7012041"/>
              <a:gd name="connsiteX4" fmla="*/ 0 w 5850422"/>
              <a:gd name="connsiteY4" fmla="*/ 3114561 h 7012041"/>
              <a:gd name="connsiteX0" fmla="*/ 0 w 5850422"/>
              <a:gd name="connsiteY0" fmla="*/ 3114561 h 7452758"/>
              <a:gd name="connsiteX1" fmla="*/ 5849233 w 5850422"/>
              <a:gd name="connsiteY1" fmla="*/ 0 h 7452758"/>
              <a:gd name="connsiteX2" fmla="*/ 5846854 w 5850422"/>
              <a:gd name="connsiteY2" fmla="*/ 5570404 h 7452758"/>
              <a:gd name="connsiteX3" fmla="*/ 2306661 w 5850422"/>
              <a:gd name="connsiteY3" fmla="*/ 7452758 h 7452758"/>
              <a:gd name="connsiteX4" fmla="*/ 0 w 5850422"/>
              <a:gd name="connsiteY4" fmla="*/ 3114561 h 7452758"/>
              <a:gd name="connsiteX0" fmla="*/ 0 w 5674963"/>
              <a:gd name="connsiteY0" fmla="*/ 3012765 h 7452758"/>
              <a:gd name="connsiteX1" fmla="*/ 5674964 w 5674963"/>
              <a:gd name="connsiteY1" fmla="*/ 0 h 7452758"/>
              <a:gd name="connsiteX2" fmla="*/ 5672585 w 5674963"/>
              <a:gd name="connsiteY2" fmla="*/ 5570404 h 7452758"/>
              <a:gd name="connsiteX3" fmla="*/ 2132392 w 5674963"/>
              <a:gd name="connsiteY3" fmla="*/ 7452758 h 7452758"/>
              <a:gd name="connsiteX4" fmla="*/ 0 w 5674963"/>
              <a:gd name="connsiteY4" fmla="*/ 3012765 h 7452758"/>
              <a:gd name="connsiteX0" fmla="*/ 0 w 5674964"/>
              <a:gd name="connsiteY0" fmla="*/ 3012765 h 6260352"/>
              <a:gd name="connsiteX1" fmla="*/ 5674964 w 5674964"/>
              <a:gd name="connsiteY1" fmla="*/ 0 h 6260352"/>
              <a:gd name="connsiteX2" fmla="*/ 5672585 w 5674964"/>
              <a:gd name="connsiteY2" fmla="*/ 5570404 h 6260352"/>
              <a:gd name="connsiteX3" fmla="*/ 1763318 w 5674964"/>
              <a:gd name="connsiteY3" fmla="*/ 6260352 h 6260352"/>
              <a:gd name="connsiteX4" fmla="*/ 0 w 5674964"/>
              <a:gd name="connsiteY4" fmla="*/ 3012765 h 6260352"/>
              <a:gd name="connsiteX0" fmla="*/ 0 w 5691646"/>
              <a:gd name="connsiteY0" fmla="*/ 3012765 h 6260352"/>
              <a:gd name="connsiteX1" fmla="*/ 5674964 w 5691646"/>
              <a:gd name="connsiteY1" fmla="*/ 0 h 6260352"/>
              <a:gd name="connsiteX2" fmla="*/ 5691276 w 5691646"/>
              <a:gd name="connsiteY2" fmla="*/ 4299722 h 6260352"/>
              <a:gd name="connsiteX3" fmla="*/ 1763318 w 5691646"/>
              <a:gd name="connsiteY3" fmla="*/ 6260352 h 6260352"/>
              <a:gd name="connsiteX4" fmla="*/ 0 w 5691646"/>
              <a:gd name="connsiteY4" fmla="*/ 3012765 h 6260352"/>
              <a:gd name="connsiteX0" fmla="*/ 0 w 5691646"/>
              <a:gd name="connsiteY0" fmla="*/ 3012765 h 6353394"/>
              <a:gd name="connsiteX1" fmla="*/ 5674964 w 5691646"/>
              <a:gd name="connsiteY1" fmla="*/ 0 h 6353394"/>
              <a:gd name="connsiteX2" fmla="*/ 5691276 w 5691646"/>
              <a:gd name="connsiteY2" fmla="*/ 4299722 h 6353394"/>
              <a:gd name="connsiteX3" fmla="*/ 1794517 w 5691646"/>
              <a:gd name="connsiteY3" fmla="*/ 6353394 h 6353394"/>
              <a:gd name="connsiteX4" fmla="*/ 0 w 5691646"/>
              <a:gd name="connsiteY4" fmla="*/ 3012765 h 6353394"/>
              <a:gd name="connsiteX0" fmla="*/ 0 w 5670279"/>
              <a:gd name="connsiteY0" fmla="*/ 3001404 h 6353394"/>
              <a:gd name="connsiteX1" fmla="*/ 5653597 w 5670279"/>
              <a:gd name="connsiteY1" fmla="*/ 0 h 6353394"/>
              <a:gd name="connsiteX2" fmla="*/ 5669909 w 5670279"/>
              <a:gd name="connsiteY2" fmla="*/ 4299722 h 6353394"/>
              <a:gd name="connsiteX3" fmla="*/ 1773150 w 5670279"/>
              <a:gd name="connsiteY3" fmla="*/ 6353394 h 6353394"/>
              <a:gd name="connsiteX4" fmla="*/ 0 w 5670279"/>
              <a:gd name="connsiteY4" fmla="*/ 3001404 h 6353394"/>
              <a:gd name="connsiteX0" fmla="*/ 0 w 5684523"/>
              <a:gd name="connsiteY0" fmla="*/ 3008978 h 6353394"/>
              <a:gd name="connsiteX1" fmla="*/ 5667841 w 5684523"/>
              <a:gd name="connsiteY1" fmla="*/ 0 h 6353394"/>
              <a:gd name="connsiteX2" fmla="*/ 5684153 w 5684523"/>
              <a:gd name="connsiteY2" fmla="*/ 4299722 h 6353394"/>
              <a:gd name="connsiteX3" fmla="*/ 1787394 w 5684523"/>
              <a:gd name="connsiteY3" fmla="*/ 6353394 h 6353394"/>
              <a:gd name="connsiteX4" fmla="*/ 0 w 5684523"/>
              <a:gd name="connsiteY4" fmla="*/ 3008978 h 6353394"/>
              <a:gd name="connsiteX0" fmla="*/ 0 w 5680358"/>
              <a:gd name="connsiteY0" fmla="*/ 3008978 h 6353394"/>
              <a:gd name="connsiteX1" fmla="*/ 5667841 w 5680358"/>
              <a:gd name="connsiteY1" fmla="*/ 0 h 6353394"/>
              <a:gd name="connsiteX2" fmla="*/ 5679914 w 5680358"/>
              <a:gd name="connsiteY2" fmla="*/ 4274569 h 6353394"/>
              <a:gd name="connsiteX3" fmla="*/ 1787394 w 5680358"/>
              <a:gd name="connsiteY3" fmla="*/ 6353394 h 6353394"/>
              <a:gd name="connsiteX4" fmla="*/ 0 w 5680358"/>
              <a:gd name="connsiteY4" fmla="*/ 3008978 h 63533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0358" h="6353394">
                <a:moveTo>
                  <a:pt x="0" y="3008978"/>
                </a:moveTo>
                <a:lnTo>
                  <a:pt x="5667841" y="0"/>
                </a:lnTo>
                <a:cubicBezTo>
                  <a:pt x="5664273" y="1643337"/>
                  <a:pt x="5683482" y="2631232"/>
                  <a:pt x="5679914" y="4274569"/>
                </a:cubicBezTo>
                <a:lnTo>
                  <a:pt x="1787394" y="6353394"/>
                </a:lnTo>
                <a:lnTo>
                  <a:pt x="0" y="300897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le 15"/>
          <p:cNvSpPr>
            <a:spLocks noGrp="1"/>
          </p:cNvSpPr>
          <p:nvPr>
            <p:ph type="ctrTitle"/>
          </p:nvPr>
        </p:nvSpPr>
        <p:spPr/>
        <p:txBody>
          <a:bodyPr/>
          <a:lstStyle/>
          <a:p>
            <a:r>
              <a:rPr lang="ru-RU" dirty="0" smtClean="0"/>
              <a:t>Развитие гостиничного бизнеса в РФ как основа развития внутреннего и въездного туризма</a:t>
            </a:r>
            <a:endParaRPr lang="en-US" dirty="0">
              <a:solidFill>
                <a:schemeClr val="bg1"/>
              </a:solidFill>
            </a:endParaRPr>
          </a:p>
        </p:txBody>
      </p:sp>
      <p:sp>
        <p:nvSpPr>
          <p:cNvPr id="17" name="Subtitle 16"/>
          <p:cNvSpPr>
            <a:spLocks noGrp="1"/>
          </p:cNvSpPr>
          <p:nvPr>
            <p:ph type="subTitle" idx="1"/>
          </p:nvPr>
        </p:nvSpPr>
        <p:spPr>
          <a:xfrm>
            <a:off x="635060" y="3426687"/>
            <a:ext cx="5486400" cy="677565"/>
          </a:xfrm>
        </p:spPr>
        <p:txBody>
          <a:bodyPr/>
          <a:lstStyle/>
          <a:p>
            <a:r>
              <a:rPr lang="ru-RU" dirty="0" smtClean="0"/>
              <a:t>Основные проблемы и перспективы</a:t>
            </a:r>
          </a:p>
          <a:p>
            <a:endParaRPr lang="ru-RU" dirty="0"/>
          </a:p>
          <a:p>
            <a:r>
              <a:rPr lang="ru-RU" dirty="0" smtClean="0"/>
              <a:t>21 июня 2017 г</a:t>
            </a:r>
            <a:endParaRPr lang="en-US" dirty="0"/>
          </a:p>
        </p:txBody>
      </p:sp>
      <p:pic>
        <p:nvPicPr>
          <p:cNvPr id="2" name="Picture 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9175" y="613343"/>
            <a:ext cx="2408555" cy="505796"/>
          </a:xfrm>
          <a:prstGeom prst="rect">
            <a:avLst/>
          </a:prstGeom>
        </p:spPr>
      </p:pic>
      <p:sp>
        <p:nvSpPr>
          <p:cNvPr id="8" name="Subtitle 16"/>
          <p:cNvSpPr txBox="1">
            <a:spLocks/>
          </p:cNvSpPr>
          <p:nvPr/>
        </p:nvSpPr>
        <p:spPr>
          <a:xfrm>
            <a:off x="598594" y="4664071"/>
            <a:ext cx="5486400" cy="677565"/>
          </a:xfrm>
          <a:prstGeom prst="rect">
            <a:avLst/>
          </a:prstGeom>
        </p:spPr>
        <p:txBody>
          <a:bodyPr lIns="0" tIns="0" rIns="0" bIns="0"/>
          <a:lstStyle>
            <a:lvl1pPr marL="0" indent="0" algn="l" defTabSz="914400" rtl="0" eaLnBrk="1" latinLnBrk="0" hangingPunct="1">
              <a:spcBef>
                <a:spcPct val="20000"/>
              </a:spcBef>
              <a:buFont typeface="Arial" pitchFamily="34" charset="0"/>
              <a:buNone/>
              <a:defRPr sz="1800" kern="1200">
                <a:solidFill>
                  <a:schemeClr val="bg1"/>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ru-RU" dirty="0" smtClean="0"/>
              <a:t>Комиссия РСПП по туризму и индустрии гостеприимства</a:t>
            </a:r>
          </a:p>
          <a:p>
            <a:endParaRPr lang="ru-RU" dirty="0" smtClean="0"/>
          </a:p>
        </p:txBody>
      </p:sp>
    </p:spTree>
    <p:extLst>
      <p:ext uri="{BB962C8B-B14F-4D97-AF65-F5344CB8AC3E}">
        <p14:creationId xmlns:p14="http://schemas.microsoft.com/office/powerpoint/2010/main" val="107181455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p:cNvPicPr>
            <a:picLocks noGrp="1" noChangeAspect="1"/>
          </p:cNvPicPr>
          <p:nvPr>
            <p:ph type="pic" sz="quarter" idx="15"/>
          </p:nvPr>
        </p:nvPicPr>
        <p:blipFill>
          <a:blip r:embed="rId3" cstate="print">
            <a:extLst>
              <a:ext uri="{28A0092B-C50C-407E-A947-70E740481C1C}">
                <a14:useLocalDpi xmlns:a14="http://schemas.microsoft.com/office/drawing/2010/main" val="0"/>
              </a:ext>
            </a:extLst>
          </a:blip>
          <a:stretch>
            <a:fillRect/>
          </a:stretch>
        </p:blipFill>
        <p:spPr>
          <a:xfrm>
            <a:off x="7057867" y="3433573"/>
            <a:ext cx="5134133" cy="3424427"/>
          </a:xfrm>
        </p:spPr>
      </p:pic>
      <p:sp>
        <p:nvSpPr>
          <p:cNvPr id="3" name="Title 2"/>
          <p:cNvSpPr>
            <a:spLocks noGrp="1"/>
          </p:cNvSpPr>
          <p:nvPr>
            <p:ph type="title"/>
          </p:nvPr>
        </p:nvSpPr>
        <p:spPr/>
        <p:txBody>
          <a:bodyPr/>
          <a:lstStyle/>
          <a:p>
            <a:r>
              <a:rPr lang="ru-RU" dirty="0"/>
              <a:t>Почему тормозятся туристские проекты?</a:t>
            </a:r>
            <a:endParaRPr lang="en-NZ" dirty="0"/>
          </a:p>
        </p:txBody>
      </p:sp>
      <p:sp>
        <p:nvSpPr>
          <p:cNvPr id="5" name="Text Placeholder 4"/>
          <p:cNvSpPr>
            <a:spLocks noGrp="1"/>
          </p:cNvSpPr>
          <p:nvPr>
            <p:ph type="body" sz="quarter" idx="14"/>
          </p:nvPr>
        </p:nvSpPr>
        <p:spPr>
          <a:xfrm>
            <a:off x="527747" y="666751"/>
            <a:ext cx="11145600" cy="369332"/>
          </a:xfrm>
        </p:spPr>
        <p:txBody>
          <a:bodyPr/>
          <a:lstStyle/>
          <a:p>
            <a:r>
              <a:rPr lang="ru-RU" dirty="0"/>
              <a:t>Основные причины неудач</a:t>
            </a:r>
            <a:endParaRPr lang="en-NZ" dirty="0"/>
          </a:p>
        </p:txBody>
      </p:sp>
      <p:sp>
        <p:nvSpPr>
          <p:cNvPr id="6" name="Text Placeholder 1"/>
          <p:cNvSpPr>
            <a:spLocks noGrp="1"/>
          </p:cNvSpPr>
          <p:nvPr>
            <p:ph type="body" sz="quarter" idx="4294967295"/>
          </p:nvPr>
        </p:nvSpPr>
        <p:spPr>
          <a:xfrm>
            <a:off x="527051" y="1292437"/>
            <a:ext cx="6430893" cy="4707016"/>
          </a:xfrm>
          <a:prstGeom prst="rect">
            <a:avLst/>
          </a:prstGeom>
        </p:spPr>
        <p:txBody>
          <a:bodyPr/>
          <a:lstStyle/>
          <a:p>
            <a:pPr marL="228594" indent="-228594"/>
            <a:r>
              <a:rPr lang="ru-RU" sz="1867" dirty="0"/>
              <a:t>Слабая проработка первичных документов (бизнес-плана, концепции проекта), в </a:t>
            </a:r>
            <a:r>
              <a:rPr lang="ru-RU" sz="1867" dirty="0" err="1"/>
              <a:t>т.ч</a:t>
            </a:r>
            <a:r>
              <a:rPr lang="ru-RU" sz="1867" dirty="0"/>
              <a:t>. из-за привлечения непрофильных специалистов для подготовки этих документов</a:t>
            </a:r>
          </a:p>
          <a:p>
            <a:pPr marL="228594" indent="-228594"/>
            <a:r>
              <a:rPr lang="ru-RU" sz="1867" dirty="0"/>
              <a:t>Слабая инвестиционная подготовка органов управления туризма на местах, отбирающих </a:t>
            </a:r>
            <a:r>
              <a:rPr lang="ru-RU" sz="1867" dirty="0" err="1"/>
              <a:t>инвестпроекты</a:t>
            </a:r>
            <a:r>
              <a:rPr lang="ru-RU" sz="1867" dirty="0"/>
              <a:t> для включения в туристско-рекреационные кластеры, </a:t>
            </a:r>
          </a:p>
          <a:p>
            <a:pPr marL="228594" indent="-228594"/>
            <a:r>
              <a:rPr lang="ru-RU" sz="1867" dirty="0"/>
              <a:t>Сложности взаимодействия компонент проекта при кластерном подходе (может иметься пул инвесторов, которые слабо состыкованы между собой)</a:t>
            </a:r>
          </a:p>
          <a:p>
            <a:pPr marL="228594" indent="-228594"/>
            <a:r>
              <a:rPr lang="ru-RU" sz="1867" dirty="0"/>
              <a:t>Слабая организация управления проектом, срывы сроков, </a:t>
            </a:r>
            <a:r>
              <a:rPr lang="ru-RU" sz="1867" dirty="0" err="1"/>
              <a:t>перерасходование</a:t>
            </a:r>
            <a:r>
              <a:rPr lang="ru-RU" sz="1867" dirty="0"/>
              <a:t> сметы из-за слабого контроля текущих </a:t>
            </a:r>
            <a:r>
              <a:rPr lang="ru-RU" sz="1867" dirty="0" smtClean="0"/>
              <a:t>расходов</a:t>
            </a:r>
          </a:p>
          <a:p>
            <a:pPr marL="228594" indent="-228594"/>
            <a:r>
              <a:rPr lang="ru-RU" sz="1867" dirty="0" smtClean="0"/>
              <a:t>Нет понимания у инвестора этапов развития проекта, отсутствие институциональных инвесторов.</a:t>
            </a:r>
            <a:endParaRPr lang="ru-RU" sz="1867" dirty="0"/>
          </a:p>
        </p:txBody>
      </p:sp>
    </p:spTree>
    <p:extLst>
      <p:ext uri="{BB962C8B-B14F-4D97-AF65-F5344CB8AC3E}">
        <p14:creationId xmlns:p14="http://schemas.microsoft.com/office/powerpoint/2010/main" val="20596798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ru-RU" dirty="0" smtClean="0"/>
              <a:t>Пример инвестиционного проекта</a:t>
            </a:r>
            <a:endParaRPr lang="ru-RU" dirty="0"/>
          </a:p>
        </p:txBody>
      </p:sp>
      <p:sp>
        <p:nvSpPr>
          <p:cNvPr id="7" name="Text Placeholder 6"/>
          <p:cNvSpPr>
            <a:spLocks noGrp="1"/>
          </p:cNvSpPr>
          <p:nvPr>
            <p:ph type="body" sz="quarter" idx="12"/>
          </p:nvPr>
        </p:nvSpPr>
        <p:spPr/>
        <p:txBody>
          <a:bodyPr/>
          <a:lstStyle/>
          <a:p>
            <a:r>
              <a:rPr lang="ru-RU" dirty="0" smtClean="0"/>
              <a:t>Не имеющего должной степени проработки</a:t>
            </a:r>
            <a:endParaRPr lang="ru-RU" dirty="0"/>
          </a:p>
        </p:txBody>
      </p:sp>
      <p:pic>
        <p:nvPicPr>
          <p:cNvPr id="8" name="Picture 7"/>
          <p:cNvPicPr>
            <a:picLocks noChangeAspect="1"/>
          </p:cNvPicPr>
          <p:nvPr/>
        </p:nvPicPr>
        <p:blipFill>
          <a:blip r:embed="rId3"/>
          <a:stretch>
            <a:fillRect/>
          </a:stretch>
        </p:blipFill>
        <p:spPr>
          <a:xfrm>
            <a:off x="360593" y="1575526"/>
            <a:ext cx="8235950" cy="4849434"/>
          </a:xfrm>
          <a:prstGeom prst="rect">
            <a:avLst/>
          </a:prstGeom>
        </p:spPr>
      </p:pic>
      <p:pic>
        <p:nvPicPr>
          <p:cNvPr id="9" name="Picture 8"/>
          <p:cNvPicPr>
            <a:picLocks noChangeAspect="1"/>
          </p:cNvPicPr>
          <p:nvPr/>
        </p:nvPicPr>
        <p:blipFill>
          <a:blip r:embed="rId4"/>
          <a:stretch>
            <a:fillRect/>
          </a:stretch>
        </p:blipFill>
        <p:spPr>
          <a:xfrm>
            <a:off x="6995022" y="125787"/>
            <a:ext cx="3455157" cy="3213891"/>
          </a:xfrm>
          <a:prstGeom prst="rect">
            <a:avLst/>
          </a:prstGeom>
        </p:spPr>
      </p:pic>
      <p:pic>
        <p:nvPicPr>
          <p:cNvPr id="10" name="Picture 9"/>
          <p:cNvPicPr>
            <a:picLocks noChangeAspect="1"/>
          </p:cNvPicPr>
          <p:nvPr/>
        </p:nvPicPr>
        <p:blipFill>
          <a:blip r:embed="rId5"/>
          <a:stretch>
            <a:fillRect/>
          </a:stretch>
        </p:blipFill>
        <p:spPr>
          <a:xfrm>
            <a:off x="8457698" y="3172960"/>
            <a:ext cx="3607591" cy="3252000"/>
          </a:xfrm>
          <a:prstGeom prst="rect">
            <a:avLst/>
          </a:prstGeom>
        </p:spPr>
      </p:pic>
    </p:spTree>
    <p:extLst>
      <p:ext uri="{BB962C8B-B14F-4D97-AF65-F5344CB8AC3E}">
        <p14:creationId xmlns:p14="http://schemas.microsoft.com/office/powerpoint/2010/main" val="36001272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4"/>
          </p:nvPr>
        </p:nvSpPr>
        <p:spPr/>
        <p:txBody>
          <a:bodyPr/>
          <a:lstStyle/>
          <a:p>
            <a:endParaRPr lang="en-US" dirty="0"/>
          </a:p>
        </p:txBody>
      </p:sp>
      <p:sp>
        <p:nvSpPr>
          <p:cNvPr id="19" name="Text Placeholder 18"/>
          <p:cNvSpPr>
            <a:spLocks noGrp="1"/>
          </p:cNvSpPr>
          <p:nvPr>
            <p:ph type="body" sz="quarter" idx="17"/>
          </p:nvPr>
        </p:nvSpPr>
        <p:spPr/>
        <p:txBody>
          <a:bodyPr/>
          <a:lstStyle/>
          <a:p>
            <a:r>
              <a:rPr lang="ru-RU" dirty="0" smtClean="0"/>
              <a:t>Марина Смирнова</a:t>
            </a:r>
          </a:p>
          <a:p>
            <a:r>
              <a:rPr lang="ru-RU" dirty="0" smtClean="0"/>
              <a:t>Партнер</a:t>
            </a:r>
          </a:p>
          <a:p>
            <a:r>
              <a:rPr lang="ru-RU" dirty="0" smtClean="0"/>
              <a:t>Руководитель отдела гостиничного бизнеса и туризма</a:t>
            </a:r>
          </a:p>
          <a:p>
            <a:r>
              <a:rPr lang="en-US" dirty="0" smtClean="0">
                <a:hlinkClick r:id="rId3"/>
              </a:rPr>
              <a:t>Marina.Smirnova@eur.cushwake.com</a:t>
            </a:r>
            <a:endParaRPr lang="en-US" dirty="0" smtClean="0"/>
          </a:p>
          <a:p>
            <a:r>
              <a:rPr lang="en-US" dirty="0" smtClean="0"/>
              <a:t>+7 985 410 7237</a:t>
            </a:r>
            <a:endParaRPr lang="en-US" dirty="0"/>
          </a:p>
        </p:txBody>
      </p:sp>
    </p:spTree>
    <p:extLst>
      <p:ext uri="{BB962C8B-B14F-4D97-AF65-F5344CB8AC3E}">
        <p14:creationId xmlns:p14="http://schemas.microsoft.com/office/powerpoint/2010/main" val="34218042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ru-RU" dirty="0" smtClean="0"/>
              <a:t>Содержание</a:t>
            </a:r>
            <a:endParaRPr lang="en-GB" dirty="0"/>
          </a:p>
        </p:txBody>
      </p:sp>
      <p:sp>
        <p:nvSpPr>
          <p:cNvPr id="7" name="Subtitle 6"/>
          <p:cNvSpPr>
            <a:spLocks noGrp="1"/>
          </p:cNvSpPr>
          <p:nvPr>
            <p:ph type="subTitle" idx="1"/>
          </p:nvPr>
        </p:nvSpPr>
        <p:spPr>
          <a:xfrm>
            <a:off x="527052" y="2363264"/>
            <a:ext cx="6409369" cy="3487451"/>
          </a:xfrm>
        </p:spPr>
        <p:txBody>
          <a:bodyPr/>
          <a:lstStyle/>
          <a:p>
            <a:r>
              <a:rPr lang="ru-RU" dirty="0" smtClean="0">
                <a:solidFill>
                  <a:schemeClr val="tx2"/>
                </a:solidFill>
              </a:rPr>
              <a:t>Развитие гостиниц в регионах</a:t>
            </a:r>
            <a:endParaRPr lang="en-GB" dirty="0" smtClean="0">
              <a:solidFill>
                <a:schemeClr val="tx2"/>
              </a:solidFill>
            </a:endParaRPr>
          </a:p>
          <a:p>
            <a:r>
              <a:rPr lang="ru-RU" dirty="0" smtClean="0">
                <a:solidFill>
                  <a:schemeClr val="tx2"/>
                </a:solidFill>
              </a:rPr>
              <a:t>Кто в лидерах?</a:t>
            </a:r>
          </a:p>
          <a:p>
            <a:r>
              <a:rPr lang="ru-RU" dirty="0" smtClean="0">
                <a:solidFill>
                  <a:schemeClr val="tx2"/>
                </a:solidFill>
              </a:rPr>
              <a:t>Где имеется потенциальный неудовлетворенный спрос?</a:t>
            </a:r>
          </a:p>
          <a:p>
            <a:r>
              <a:rPr lang="ru-RU" dirty="0" smtClean="0">
                <a:solidFill>
                  <a:schemeClr val="tx2"/>
                </a:solidFill>
              </a:rPr>
              <a:t>Сравнение с Европой по операционным показателям</a:t>
            </a:r>
          </a:p>
          <a:p>
            <a:r>
              <a:rPr lang="ru-RU" dirty="0" smtClean="0">
                <a:solidFill>
                  <a:schemeClr val="tx2"/>
                </a:solidFill>
              </a:rPr>
              <a:t>Сколько гостиниц нужно России?</a:t>
            </a:r>
          </a:p>
          <a:p>
            <a:r>
              <a:rPr lang="ru-RU" dirty="0" smtClean="0">
                <a:solidFill>
                  <a:schemeClr val="tx2"/>
                </a:solidFill>
              </a:rPr>
              <a:t>Почему тормозятся туристские проекты?</a:t>
            </a:r>
          </a:p>
          <a:p>
            <a:endParaRPr lang="en-GB" dirty="0">
              <a:solidFill>
                <a:schemeClr val="tx2"/>
              </a:solidFill>
            </a:endParaRPr>
          </a:p>
        </p:txBody>
      </p:sp>
      <p:pic>
        <p:nvPicPr>
          <p:cNvPr id="8" name="Picture Placeholder 11"/>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tretch>
            <a:fillRect/>
          </a:stretch>
        </p:blipFill>
        <p:spPr>
          <a:xfrm>
            <a:off x="6784848" y="2805794"/>
            <a:ext cx="5407152" cy="4055364"/>
          </a:xfrm>
        </p:spPr>
      </p:pic>
    </p:spTree>
    <p:extLst>
      <p:ext uri="{BB962C8B-B14F-4D97-AF65-F5344CB8AC3E}">
        <p14:creationId xmlns:p14="http://schemas.microsoft.com/office/powerpoint/2010/main" val="4277504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ru-RU" dirty="0" smtClean="0"/>
              <a:t>Развитие гостиниц в регионах РФ</a:t>
            </a:r>
            <a:endParaRPr lang="ru-RU" dirty="0"/>
          </a:p>
        </p:txBody>
      </p:sp>
      <p:sp>
        <p:nvSpPr>
          <p:cNvPr id="4" name="Text Placeholder 3"/>
          <p:cNvSpPr>
            <a:spLocks noGrp="1"/>
          </p:cNvSpPr>
          <p:nvPr>
            <p:ph type="body" sz="quarter" idx="12"/>
          </p:nvPr>
        </p:nvSpPr>
        <p:spPr/>
        <p:txBody>
          <a:bodyPr/>
          <a:lstStyle/>
          <a:p>
            <a:r>
              <a:rPr lang="ru-RU" dirty="0" smtClean="0"/>
              <a:t>Лидеры и аутсайдеры</a:t>
            </a:r>
            <a:endParaRPr lang="ru-RU" dirty="0"/>
          </a:p>
        </p:txBody>
      </p:sp>
      <p:sp>
        <p:nvSpPr>
          <p:cNvPr id="5" name="Slide Number Placeholder 4"/>
          <p:cNvSpPr>
            <a:spLocks noGrp="1"/>
          </p:cNvSpPr>
          <p:nvPr>
            <p:ph type="sldNum" sz="quarter" idx="14"/>
          </p:nvPr>
        </p:nvSpPr>
        <p:spPr/>
        <p:txBody>
          <a:bodyPr/>
          <a:lstStyle/>
          <a:p>
            <a:fld id="{37375A8A-23F4-4063-BF5D-AACA5B32A470}" type="slidenum">
              <a:rPr lang="en-US" smtClean="0"/>
              <a:pPr/>
              <a:t>3</a:t>
            </a:fld>
            <a:endParaRPr lang="en-US" dirty="0"/>
          </a:p>
        </p:txBody>
      </p:sp>
      <p:graphicFrame>
        <p:nvGraphicFramePr>
          <p:cNvPr id="7" name="Chart 6"/>
          <p:cNvGraphicFramePr>
            <a:graphicFrameLocks/>
          </p:cNvGraphicFramePr>
          <p:nvPr>
            <p:extLst>
              <p:ext uri="{D42A27DB-BD31-4B8C-83A1-F6EECF244321}">
                <p14:modId xmlns:p14="http://schemas.microsoft.com/office/powerpoint/2010/main" val="615322809"/>
              </p:ext>
            </p:extLst>
          </p:nvPr>
        </p:nvGraphicFramePr>
        <p:xfrm>
          <a:off x="829994" y="1378857"/>
          <a:ext cx="10592971" cy="482499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103488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ru-RU" dirty="0" smtClean="0"/>
              <a:t>Кто в зоне риска</a:t>
            </a:r>
            <a:endParaRPr lang="ru-RU" dirty="0"/>
          </a:p>
        </p:txBody>
      </p:sp>
      <p:sp>
        <p:nvSpPr>
          <p:cNvPr id="5" name="Text Placeholder 4"/>
          <p:cNvSpPr>
            <a:spLocks noGrp="1"/>
          </p:cNvSpPr>
          <p:nvPr>
            <p:ph type="body" sz="quarter" idx="12"/>
          </p:nvPr>
        </p:nvSpPr>
        <p:spPr/>
        <p:txBody>
          <a:bodyPr/>
          <a:lstStyle/>
          <a:p>
            <a:r>
              <a:rPr lang="ru-RU" dirty="0" smtClean="0"/>
              <a:t>Старые и малые гостиницы</a:t>
            </a:r>
            <a:endParaRPr lang="ru-RU" dirty="0"/>
          </a:p>
        </p:txBody>
      </p:sp>
      <p:sp>
        <p:nvSpPr>
          <p:cNvPr id="6" name="Slide Number Placeholder 5"/>
          <p:cNvSpPr>
            <a:spLocks noGrp="1"/>
          </p:cNvSpPr>
          <p:nvPr>
            <p:ph type="sldNum" sz="quarter" idx="14"/>
          </p:nvPr>
        </p:nvSpPr>
        <p:spPr/>
        <p:txBody>
          <a:bodyPr/>
          <a:lstStyle/>
          <a:p>
            <a:fld id="{37375A8A-23F4-4063-BF5D-AACA5B32A470}" type="slidenum">
              <a:rPr lang="en-US" smtClean="0"/>
              <a:pPr/>
              <a:t>4</a:t>
            </a:fld>
            <a:endParaRPr lang="en-US" dirty="0"/>
          </a:p>
        </p:txBody>
      </p:sp>
      <p:graphicFrame>
        <p:nvGraphicFramePr>
          <p:cNvPr id="8" name="Chart 7"/>
          <p:cNvGraphicFramePr>
            <a:graphicFrameLocks/>
          </p:cNvGraphicFramePr>
          <p:nvPr>
            <p:extLst>
              <p:ext uri="{D42A27DB-BD31-4B8C-83A1-F6EECF244321}">
                <p14:modId xmlns:p14="http://schemas.microsoft.com/office/powerpoint/2010/main" val="327181742"/>
              </p:ext>
            </p:extLst>
          </p:nvPr>
        </p:nvGraphicFramePr>
        <p:xfrm>
          <a:off x="625285" y="1535111"/>
          <a:ext cx="6515743" cy="4604432"/>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Placeholder 6"/>
          <p:cNvPicPr>
            <a:picLocks noGrp="1" noChangeAspect="1"/>
          </p:cNvPicPr>
          <p:nvPr>
            <p:ph type="pic" sz="quarter" idx="11"/>
          </p:nvPr>
        </p:nvPicPr>
        <p:blipFill>
          <a:blip r:embed="rId4">
            <a:extLst>
              <a:ext uri="{28A0092B-C50C-407E-A947-70E740481C1C}">
                <a14:useLocalDpi xmlns:a14="http://schemas.microsoft.com/office/drawing/2010/main" val="0"/>
              </a:ext>
            </a:extLst>
          </a:blip>
          <a:srcRect l="12488" r="12488"/>
          <a:stretch>
            <a:fillRect/>
          </a:stretch>
        </p:blipFill>
        <p:spPr/>
      </p:pic>
    </p:spTree>
    <p:extLst>
      <p:ext uri="{BB962C8B-B14F-4D97-AF65-F5344CB8AC3E}">
        <p14:creationId xmlns:p14="http://schemas.microsoft.com/office/powerpoint/2010/main" val="27648811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pPr marL="285750" indent="-285750">
              <a:buFont typeface="Arial" panose="020B0604020202020204" pitchFamily="34" charset="0"/>
              <a:buChar char="•"/>
            </a:pPr>
            <a:r>
              <a:rPr lang="ru-RU" dirty="0" smtClean="0"/>
              <a:t>В последние 2 года количество гостиниц сокращалось (по предварительным данным за первый-третий кварталы)</a:t>
            </a:r>
          </a:p>
          <a:p>
            <a:pPr marL="285750" indent="-285750">
              <a:buFont typeface="Arial" panose="020B0604020202020204" pitchFamily="34" charset="0"/>
              <a:buChar char="•"/>
            </a:pPr>
            <a:r>
              <a:rPr lang="ru-RU" dirty="0" smtClean="0"/>
              <a:t>Сокращение количества гостиниц связано как с несовершенством </a:t>
            </a:r>
            <a:r>
              <a:rPr lang="ru-RU" dirty="0" err="1" smtClean="0"/>
              <a:t>статучета</a:t>
            </a:r>
            <a:r>
              <a:rPr lang="ru-RU" dirty="0" smtClean="0"/>
              <a:t>, так и уходом с рынка мелких игроков</a:t>
            </a:r>
          </a:p>
          <a:p>
            <a:pPr marL="285750" indent="-285750">
              <a:buFont typeface="Arial" panose="020B0604020202020204" pitchFamily="34" charset="0"/>
              <a:buChar char="•"/>
            </a:pPr>
            <a:r>
              <a:rPr lang="ru-RU" dirty="0" smtClean="0"/>
              <a:t>Как показывают наши данные, количество девелоперских проектов в коммерческой недвижимости сокращается, это же относится и к качественным гостиницам</a:t>
            </a:r>
          </a:p>
          <a:p>
            <a:pPr marL="285750" indent="-285750">
              <a:buFont typeface="Arial" panose="020B0604020202020204" pitchFamily="34" charset="0"/>
              <a:buChar char="•"/>
            </a:pPr>
            <a:r>
              <a:rPr lang="ru-RU" dirty="0" smtClean="0"/>
              <a:t>Как показывает практика, развитие происходит за счет роста количества небольших объектов, неспособных решать задачи качественного изменения уровня инфраструктуры.</a:t>
            </a:r>
            <a:endParaRPr lang="ru-RU" dirty="0"/>
          </a:p>
        </p:txBody>
      </p:sp>
      <p:sp>
        <p:nvSpPr>
          <p:cNvPr id="4" name="Title 3"/>
          <p:cNvSpPr>
            <a:spLocks noGrp="1"/>
          </p:cNvSpPr>
          <p:nvPr>
            <p:ph type="ctrTitle"/>
          </p:nvPr>
        </p:nvSpPr>
        <p:spPr/>
        <p:txBody>
          <a:bodyPr/>
          <a:lstStyle/>
          <a:p>
            <a:r>
              <a:rPr lang="ru-RU" dirty="0" smtClean="0"/>
              <a:t>Темпы изменения количества гостиниц</a:t>
            </a:r>
            <a:endParaRPr lang="ru-RU" dirty="0"/>
          </a:p>
        </p:txBody>
      </p:sp>
      <p:sp>
        <p:nvSpPr>
          <p:cNvPr id="5" name="Text Placeholder 4"/>
          <p:cNvSpPr>
            <a:spLocks noGrp="1"/>
          </p:cNvSpPr>
          <p:nvPr>
            <p:ph type="body" sz="quarter" idx="12"/>
          </p:nvPr>
        </p:nvSpPr>
        <p:spPr/>
        <p:txBody>
          <a:bodyPr/>
          <a:lstStyle/>
          <a:p>
            <a:r>
              <a:rPr lang="ru-RU" dirty="0" smtClean="0"/>
              <a:t>Прогнозы на  2016-2017 </a:t>
            </a:r>
            <a:r>
              <a:rPr lang="ru-RU" dirty="0" err="1" smtClean="0"/>
              <a:t>гг</a:t>
            </a:r>
            <a:endParaRPr lang="ru-RU" dirty="0"/>
          </a:p>
        </p:txBody>
      </p:sp>
      <p:sp>
        <p:nvSpPr>
          <p:cNvPr id="6" name="Slide Number Placeholder 5"/>
          <p:cNvSpPr>
            <a:spLocks noGrp="1"/>
          </p:cNvSpPr>
          <p:nvPr>
            <p:ph type="sldNum" sz="quarter" idx="14"/>
          </p:nvPr>
        </p:nvSpPr>
        <p:spPr/>
        <p:txBody>
          <a:bodyPr/>
          <a:lstStyle/>
          <a:p>
            <a:fld id="{37375A8A-23F4-4063-BF5D-AACA5B32A470}" type="slidenum">
              <a:rPr lang="en-US" smtClean="0"/>
              <a:pPr/>
              <a:t>5</a:t>
            </a:fld>
            <a:endParaRPr lang="en-US" dirty="0"/>
          </a:p>
        </p:txBody>
      </p:sp>
      <p:graphicFrame>
        <p:nvGraphicFramePr>
          <p:cNvPr id="7" name="Chart 6"/>
          <p:cNvGraphicFramePr>
            <a:graphicFrameLocks/>
          </p:cNvGraphicFramePr>
          <p:nvPr>
            <p:extLst>
              <p:ext uri="{D42A27DB-BD31-4B8C-83A1-F6EECF244321}">
                <p14:modId xmlns:p14="http://schemas.microsoft.com/office/powerpoint/2010/main" val="2283350945"/>
              </p:ext>
            </p:extLst>
          </p:nvPr>
        </p:nvGraphicFramePr>
        <p:xfrm>
          <a:off x="572103" y="1785257"/>
          <a:ext cx="5210629" cy="36576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565228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ru-RU" dirty="0" smtClean="0"/>
              <a:t>Загрузка гостиниц </a:t>
            </a:r>
            <a:endParaRPr lang="ru-RU" dirty="0"/>
          </a:p>
        </p:txBody>
      </p:sp>
      <p:sp>
        <p:nvSpPr>
          <p:cNvPr id="4" name="Text Placeholder 3"/>
          <p:cNvSpPr>
            <a:spLocks noGrp="1"/>
          </p:cNvSpPr>
          <p:nvPr>
            <p:ph type="body" sz="quarter" idx="12"/>
          </p:nvPr>
        </p:nvSpPr>
        <p:spPr/>
        <p:txBody>
          <a:bodyPr/>
          <a:lstStyle/>
          <a:p>
            <a:r>
              <a:rPr lang="ru-RU" dirty="0" smtClean="0"/>
              <a:t>Формирование неудовлетворенного спроса по регионам</a:t>
            </a:r>
            <a:endParaRPr lang="ru-RU" dirty="0"/>
          </a:p>
        </p:txBody>
      </p:sp>
      <p:sp>
        <p:nvSpPr>
          <p:cNvPr id="5" name="Slide Number Placeholder 4"/>
          <p:cNvSpPr>
            <a:spLocks noGrp="1"/>
          </p:cNvSpPr>
          <p:nvPr>
            <p:ph type="sldNum" sz="quarter" idx="14"/>
          </p:nvPr>
        </p:nvSpPr>
        <p:spPr/>
        <p:txBody>
          <a:bodyPr/>
          <a:lstStyle/>
          <a:p>
            <a:fld id="{37375A8A-23F4-4063-BF5D-AACA5B32A470}" type="slidenum">
              <a:rPr lang="en-US" smtClean="0"/>
              <a:pPr/>
              <a:t>6</a:t>
            </a:fld>
            <a:endParaRPr lang="en-US" dirty="0"/>
          </a:p>
        </p:txBody>
      </p:sp>
      <p:graphicFrame>
        <p:nvGraphicFramePr>
          <p:cNvPr id="7" name="Chart 6"/>
          <p:cNvGraphicFramePr>
            <a:graphicFrameLocks/>
          </p:cNvGraphicFramePr>
          <p:nvPr>
            <p:extLst>
              <p:ext uri="{D42A27DB-BD31-4B8C-83A1-F6EECF244321}">
                <p14:modId xmlns:p14="http://schemas.microsoft.com/office/powerpoint/2010/main" val="816533549"/>
              </p:ext>
            </p:extLst>
          </p:nvPr>
        </p:nvGraphicFramePr>
        <p:xfrm>
          <a:off x="255494" y="1358153"/>
          <a:ext cx="11618259" cy="485214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290131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ru-RU" dirty="0" smtClean="0"/>
              <a:t>Операционные показатели апрель 2017 года (</a:t>
            </a:r>
            <a:r>
              <a:rPr lang="en-US" dirty="0" err="1" smtClean="0"/>
              <a:t>YtoY</a:t>
            </a:r>
            <a:r>
              <a:rPr lang="ru-RU" dirty="0" smtClean="0"/>
              <a:t>)</a:t>
            </a:r>
            <a:endParaRPr lang="ru-RU" dirty="0"/>
          </a:p>
        </p:txBody>
      </p:sp>
      <p:sp>
        <p:nvSpPr>
          <p:cNvPr id="5" name="Text Placeholder 4"/>
          <p:cNvSpPr>
            <a:spLocks noGrp="1"/>
          </p:cNvSpPr>
          <p:nvPr>
            <p:ph type="body" sz="quarter" idx="12"/>
          </p:nvPr>
        </p:nvSpPr>
        <p:spPr/>
        <p:txBody>
          <a:bodyPr/>
          <a:lstStyle/>
          <a:p>
            <a:r>
              <a:rPr lang="ru-RU" dirty="0" smtClean="0"/>
              <a:t>Россия и Европа</a:t>
            </a:r>
            <a:endParaRPr lang="ru-RU" dirty="0"/>
          </a:p>
        </p:txBody>
      </p:sp>
      <p:sp>
        <p:nvSpPr>
          <p:cNvPr id="6" name="Slide Number Placeholder 5"/>
          <p:cNvSpPr>
            <a:spLocks noGrp="1"/>
          </p:cNvSpPr>
          <p:nvPr>
            <p:ph type="sldNum" sz="quarter" idx="14"/>
          </p:nvPr>
        </p:nvSpPr>
        <p:spPr/>
        <p:txBody>
          <a:bodyPr/>
          <a:lstStyle/>
          <a:p>
            <a:fld id="{37375A8A-23F4-4063-BF5D-AACA5B32A470}" type="slidenum">
              <a:rPr lang="en-US" smtClean="0"/>
              <a:pPr/>
              <a:t>7</a:t>
            </a:fld>
            <a:endParaRPr lang="en-US" dirty="0"/>
          </a:p>
        </p:txBody>
      </p:sp>
      <p:sp>
        <p:nvSpPr>
          <p:cNvPr id="8" name="TextBox 7"/>
          <p:cNvSpPr txBox="1"/>
          <p:nvPr/>
        </p:nvSpPr>
        <p:spPr>
          <a:xfrm>
            <a:off x="9359152" y="1618600"/>
            <a:ext cx="1721223" cy="1754326"/>
          </a:xfrm>
          <a:prstGeom prst="rect">
            <a:avLst/>
          </a:prstGeom>
          <a:noFill/>
        </p:spPr>
        <p:txBody>
          <a:bodyPr wrap="square" rtlCol="0">
            <a:spAutoFit/>
          </a:bodyPr>
          <a:lstStyle/>
          <a:p>
            <a:r>
              <a:rPr lang="ru-RU" dirty="0" smtClean="0"/>
              <a:t>Средняя загрузка в 2016 году: 60</a:t>
            </a:r>
            <a:r>
              <a:rPr lang="ru-RU" dirty="0" smtClean="0"/>
              <a:t>%</a:t>
            </a:r>
            <a:endParaRPr lang="en-US" dirty="0" smtClean="0"/>
          </a:p>
          <a:p>
            <a:r>
              <a:rPr lang="ru-RU" dirty="0" smtClean="0"/>
              <a:t>Апрель 2017 – 53% </a:t>
            </a:r>
            <a:endParaRPr lang="ru-RU" dirty="0" smtClean="0"/>
          </a:p>
        </p:txBody>
      </p:sp>
      <p:sp>
        <p:nvSpPr>
          <p:cNvPr id="9" name="TextBox 8"/>
          <p:cNvSpPr txBox="1"/>
          <p:nvPr/>
        </p:nvSpPr>
        <p:spPr>
          <a:xfrm>
            <a:off x="9359151" y="4125893"/>
            <a:ext cx="1721223" cy="1754326"/>
          </a:xfrm>
          <a:prstGeom prst="rect">
            <a:avLst/>
          </a:prstGeom>
          <a:noFill/>
        </p:spPr>
        <p:txBody>
          <a:bodyPr wrap="square" rtlCol="0">
            <a:spAutoFit/>
          </a:bodyPr>
          <a:lstStyle/>
          <a:p>
            <a:r>
              <a:rPr lang="ru-RU" dirty="0" smtClean="0"/>
              <a:t>Средняя цена продажи в 2016 году: 5400 руб</a:t>
            </a:r>
            <a:r>
              <a:rPr lang="ru-RU" dirty="0" smtClean="0"/>
              <a:t>.</a:t>
            </a:r>
          </a:p>
          <a:p>
            <a:r>
              <a:rPr lang="ru-RU" dirty="0" smtClean="0"/>
              <a:t>Апрель 2017 г – 4856 </a:t>
            </a:r>
            <a:r>
              <a:rPr lang="ru-RU" dirty="0" err="1" smtClean="0"/>
              <a:t>руб</a:t>
            </a:r>
            <a:endParaRPr lang="ru-RU" dirty="0" smtClean="0"/>
          </a:p>
        </p:txBody>
      </p:sp>
      <p:graphicFrame>
        <p:nvGraphicFramePr>
          <p:cNvPr id="10" name="Chart 9"/>
          <p:cNvGraphicFramePr>
            <a:graphicFrameLocks/>
          </p:cNvGraphicFramePr>
          <p:nvPr>
            <p:extLst>
              <p:ext uri="{D42A27DB-BD31-4B8C-83A1-F6EECF244321}">
                <p14:modId xmlns:p14="http://schemas.microsoft.com/office/powerpoint/2010/main" val="4154088157"/>
              </p:ext>
            </p:extLst>
          </p:nvPr>
        </p:nvGraphicFramePr>
        <p:xfrm>
          <a:off x="601133" y="1731055"/>
          <a:ext cx="8062913" cy="42957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4130251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l="852" r="852"/>
          <a:stretch>
            <a:fillRect/>
          </a:stretch>
        </p:blipFill>
        <p:spPr/>
      </p:pic>
      <p:sp>
        <p:nvSpPr>
          <p:cNvPr id="8" name="Title 7"/>
          <p:cNvSpPr>
            <a:spLocks noGrp="1"/>
          </p:cNvSpPr>
          <p:nvPr>
            <p:ph type="ctrTitle"/>
          </p:nvPr>
        </p:nvSpPr>
        <p:spPr/>
        <p:txBody>
          <a:bodyPr/>
          <a:lstStyle/>
          <a:p>
            <a:r>
              <a:rPr lang="ru-RU" dirty="0" smtClean="0"/>
              <a:t>Уровень развития гостиничной базы</a:t>
            </a:r>
            <a:endParaRPr lang="ru-RU" dirty="0"/>
          </a:p>
        </p:txBody>
      </p:sp>
      <p:sp>
        <p:nvSpPr>
          <p:cNvPr id="11" name="Text Placeholder 10"/>
          <p:cNvSpPr>
            <a:spLocks noGrp="1"/>
          </p:cNvSpPr>
          <p:nvPr>
            <p:ph type="body" sz="quarter" idx="12"/>
          </p:nvPr>
        </p:nvSpPr>
        <p:spPr/>
        <p:txBody>
          <a:bodyPr/>
          <a:lstStyle/>
          <a:p>
            <a:r>
              <a:rPr lang="ru-RU" dirty="0" smtClean="0"/>
              <a:t>Сравнение с Европой</a:t>
            </a:r>
            <a:endParaRPr lang="ru-RU" dirty="0"/>
          </a:p>
        </p:txBody>
      </p:sp>
      <p:sp>
        <p:nvSpPr>
          <p:cNvPr id="7" name="Slide Number Placeholder 6"/>
          <p:cNvSpPr>
            <a:spLocks noGrp="1"/>
          </p:cNvSpPr>
          <p:nvPr>
            <p:ph type="sldNum" sz="quarter" idx="14"/>
          </p:nvPr>
        </p:nvSpPr>
        <p:spPr/>
        <p:txBody>
          <a:bodyPr/>
          <a:lstStyle/>
          <a:p>
            <a:fld id="{37375A8A-23F4-4063-BF5D-AACA5B32A470}" type="slidenum">
              <a:rPr lang="en-US" smtClean="0"/>
              <a:pPr/>
              <a:t>8</a:t>
            </a:fld>
            <a:endParaRPr lang="en-US" dirty="0"/>
          </a:p>
        </p:txBody>
      </p:sp>
      <p:graphicFrame>
        <p:nvGraphicFramePr>
          <p:cNvPr id="13" name="Chart 12"/>
          <p:cNvGraphicFramePr>
            <a:graphicFrameLocks/>
          </p:cNvGraphicFramePr>
          <p:nvPr>
            <p:extLst>
              <p:ext uri="{D42A27DB-BD31-4B8C-83A1-F6EECF244321}">
                <p14:modId xmlns:p14="http://schemas.microsoft.com/office/powerpoint/2010/main" val="867366034"/>
              </p:ext>
            </p:extLst>
          </p:nvPr>
        </p:nvGraphicFramePr>
        <p:xfrm>
          <a:off x="427756" y="1535111"/>
          <a:ext cx="6916473" cy="46189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0723040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01133" y="1391583"/>
            <a:ext cx="5308600" cy="4448175"/>
          </a:xfrm>
        </p:spPr>
        <p:txBody>
          <a:bodyPr/>
          <a:lstStyle/>
          <a:p>
            <a:r>
              <a:rPr lang="ru-RU" dirty="0" smtClean="0"/>
              <a:t>За последние 15 лет:</a:t>
            </a:r>
            <a:endParaRPr lang="ru-RU" dirty="0"/>
          </a:p>
          <a:p>
            <a:pPr marL="285750" indent="-285750">
              <a:buFont typeface="Arial" panose="020B0604020202020204" pitchFamily="34" charset="0"/>
              <a:buChar char="•"/>
            </a:pPr>
            <a:r>
              <a:rPr lang="ru-RU" dirty="0" smtClean="0"/>
              <a:t>Количество мест в гостиницах и аналогичных средствах размещения увеличилось на 167%</a:t>
            </a:r>
          </a:p>
          <a:p>
            <a:pPr marL="285750" indent="-285750">
              <a:buFont typeface="Arial" panose="020B0604020202020204" pitchFamily="34" charset="0"/>
              <a:buChar char="•"/>
            </a:pPr>
            <a:r>
              <a:rPr lang="ru-RU" dirty="0" smtClean="0"/>
              <a:t>Количество размещенных гостиницами лиц – на 122%</a:t>
            </a:r>
          </a:p>
          <a:p>
            <a:pPr marL="285750" indent="-285750">
              <a:buFont typeface="Arial" panose="020B0604020202020204" pitchFamily="34" charset="0"/>
              <a:buChar char="•"/>
            </a:pPr>
            <a:r>
              <a:rPr lang="ru-RU" dirty="0" smtClean="0"/>
              <a:t>Количество ночевок: на 115%</a:t>
            </a:r>
          </a:p>
          <a:p>
            <a:pPr marL="285750" indent="-285750">
              <a:buFont typeface="Arial" panose="020B0604020202020204" pitchFamily="34" charset="0"/>
              <a:buChar char="•"/>
            </a:pPr>
            <a:r>
              <a:rPr lang="ru-RU" dirty="0" smtClean="0"/>
              <a:t>Загрузка по койко-местам снизилась на 7 </a:t>
            </a:r>
            <a:r>
              <a:rPr lang="ru-RU" dirty="0" err="1" smtClean="0"/>
              <a:t>пп</a:t>
            </a:r>
            <a:endParaRPr lang="ru-RU" dirty="0" smtClean="0"/>
          </a:p>
          <a:p>
            <a:pPr marL="285750" indent="-285750">
              <a:buFont typeface="Arial" panose="020B0604020202020204" pitchFamily="34" charset="0"/>
              <a:buChar char="•"/>
            </a:pPr>
            <a:r>
              <a:rPr lang="ru-RU" dirty="0" smtClean="0"/>
              <a:t>Средняя продолжительность пребывания практически не изменилась.</a:t>
            </a:r>
            <a:endParaRPr lang="ru-RU" dirty="0"/>
          </a:p>
        </p:txBody>
      </p:sp>
      <p:sp>
        <p:nvSpPr>
          <p:cNvPr id="3" name="Text Placeholder 2"/>
          <p:cNvSpPr>
            <a:spLocks noGrp="1"/>
          </p:cNvSpPr>
          <p:nvPr>
            <p:ph type="body" sz="quarter" idx="11"/>
          </p:nvPr>
        </p:nvSpPr>
        <p:spPr>
          <a:xfrm>
            <a:off x="6200713" y="1373000"/>
            <a:ext cx="5325533" cy="2815571"/>
          </a:xfrm>
        </p:spPr>
        <p:txBody>
          <a:bodyPr/>
          <a:lstStyle/>
          <a:p>
            <a:r>
              <a:rPr lang="ru-RU" dirty="0" smtClean="0"/>
              <a:t>С 2000 по 2015 год:</a:t>
            </a:r>
          </a:p>
          <a:p>
            <a:pPr marL="285750" indent="-285750">
              <a:buFont typeface="Arial" panose="020B0604020202020204" pitchFamily="34" charset="0"/>
              <a:buChar char="•"/>
            </a:pPr>
            <a:r>
              <a:rPr lang="ru-RU" dirty="0" smtClean="0"/>
              <a:t>Количество мест увеличилось с 346 тыс. единиц до 924 тыс. единиц</a:t>
            </a:r>
          </a:p>
          <a:p>
            <a:pPr marL="285750" indent="-285750">
              <a:buFont typeface="Arial" panose="020B0604020202020204" pitchFamily="34" charset="0"/>
              <a:buChar char="•"/>
            </a:pPr>
            <a:r>
              <a:rPr lang="ru-RU" dirty="0" smtClean="0"/>
              <a:t>Количество размещенных лиц выросло с 16,6 млн чел до 36,8 млн чел</a:t>
            </a:r>
          </a:p>
          <a:p>
            <a:pPr marL="285750" indent="-285750">
              <a:buFont typeface="Arial" panose="020B0604020202020204" pitchFamily="34" charset="0"/>
              <a:buChar char="•"/>
            </a:pPr>
            <a:r>
              <a:rPr lang="ru-RU" dirty="0" smtClean="0"/>
              <a:t>Загрузка по койко-местам упала с 37% до 30%</a:t>
            </a:r>
          </a:p>
          <a:p>
            <a:pPr marL="285750" indent="-285750">
              <a:buFont typeface="Arial" panose="020B0604020202020204" pitchFamily="34" charset="0"/>
              <a:buChar char="•"/>
            </a:pPr>
            <a:r>
              <a:rPr lang="ru-RU" dirty="0" smtClean="0"/>
              <a:t>Общая вместимость гостиничной базы – с 126,3 млн доступных мест в год до 337 млн. мест в год</a:t>
            </a:r>
          </a:p>
          <a:p>
            <a:pPr marL="285750" indent="-285750">
              <a:buFont typeface="Arial" panose="020B0604020202020204" pitchFamily="34" charset="0"/>
              <a:buChar char="•"/>
            </a:pPr>
            <a:r>
              <a:rPr lang="ru-RU" dirty="0" smtClean="0"/>
              <a:t>В 2000 </a:t>
            </a:r>
            <a:r>
              <a:rPr lang="ru-RU" dirty="0"/>
              <a:t>г. </a:t>
            </a:r>
            <a:r>
              <a:rPr lang="ru-RU" dirty="0" smtClean="0"/>
              <a:t>В среднем </a:t>
            </a:r>
            <a:r>
              <a:rPr lang="ru-RU" dirty="0"/>
              <a:t>клиент проводил 2,8 ночей, в 2015 году – 2,7 ночи.</a:t>
            </a:r>
          </a:p>
          <a:p>
            <a:endParaRPr lang="ru-RU" dirty="0"/>
          </a:p>
        </p:txBody>
      </p:sp>
      <p:sp>
        <p:nvSpPr>
          <p:cNvPr id="4" name="Title 3"/>
          <p:cNvSpPr>
            <a:spLocks noGrp="1"/>
          </p:cNvSpPr>
          <p:nvPr>
            <p:ph type="ctrTitle"/>
          </p:nvPr>
        </p:nvSpPr>
        <p:spPr/>
        <p:txBody>
          <a:bodyPr/>
          <a:lstStyle/>
          <a:p>
            <a:r>
              <a:rPr lang="ru-RU" dirty="0" smtClean="0"/>
              <a:t>Сколько гостиниц нужно России</a:t>
            </a:r>
            <a:endParaRPr lang="ru-RU" dirty="0"/>
          </a:p>
        </p:txBody>
      </p:sp>
      <p:sp>
        <p:nvSpPr>
          <p:cNvPr id="5" name="Text Placeholder 4"/>
          <p:cNvSpPr>
            <a:spLocks noGrp="1"/>
          </p:cNvSpPr>
          <p:nvPr>
            <p:ph type="body" sz="quarter" idx="12"/>
          </p:nvPr>
        </p:nvSpPr>
        <p:spPr/>
        <p:txBody>
          <a:bodyPr/>
          <a:lstStyle/>
          <a:p>
            <a:r>
              <a:rPr lang="ru-RU" dirty="0" smtClean="0"/>
              <a:t>И есть ли дефицит </a:t>
            </a:r>
            <a:endParaRPr lang="ru-RU" dirty="0"/>
          </a:p>
        </p:txBody>
      </p:sp>
      <p:sp>
        <p:nvSpPr>
          <p:cNvPr id="6" name="Slide Number Placeholder 5"/>
          <p:cNvSpPr>
            <a:spLocks noGrp="1"/>
          </p:cNvSpPr>
          <p:nvPr>
            <p:ph type="sldNum" sz="quarter" idx="14"/>
          </p:nvPr>
        </p:nvSpPr>
        <p:spPr/>
        <p:txBody>
          <a:bodyPr/>
          <a:lstStyle/>
          <a:p>
            <a:fld id="{37375A8A-23F4-4063-BF5D-AACA5B32A470}" type="slidenum">
              <a:rPr lang="en-US" smtClean="0"/>
              <a:pPr/>
              <a:t>9</a:t>
            </a:fld>
            <a:endParaRPr lang="en-US" dirty="0"/>
          </a:p>
        </p:txBody>
      </p:sp>
      <p:sp>
        <p:nvSpPr>
          <p:cNvPr id="7" name="TextBox 6"/>
          <p:cNvSpPr txBox="1"/>
          <p:nvPr/>
        </p:nvSpPr>
        <p:spPr>
          <a:xfrm>
            <a:off x="601134" y="4351895"/>
            <a:ext cx="10828866" cy="1501950"/>
          </a:xfrm>
          <a:prstGeom prst="rect">
            <a:avLst/>
          </a:prstGeom>
          <a:noFill/>
        </p:spPr>
        <p:txBody>
          <a:bodyPr wrap="square" rtlCol="0">
            <a:spAutoFit/>
          </a:bodyPr>
          <a:lstStyle/>
          <a:p>
            <a:r>
              <a:rPr lang="ru-RU" sz="1600" dirty="0" smtClean="0"/>
              <a:t>Вывод</a:t>
            </a:r>
            <a:r>
              <a:rPr lang="ru-RU" dirty="0" smtClean="0"/>
              <a:t>: </a:t>
            </a:r>
          </a:p>
          <a:p>
            <a:pPr marL="285750" indent="-285750">
              <a:spcBef>
                <a:spcPct val="20000"/>
              </a:spcBef>
              <a:buFont typeface="Arial" pitchFamily="34" charset="0"/>
              <a:buChar char="•"/>
            </a:pPr>
            <a:r>
              <a:rPr lang="ru-RU" sz="1600" dirty="0"/>
              <a:t>Дефицит гостиничных номеров может ощущаться в моменты пикового спроса в отдельно взятых регионах. </a:t>
            </a:r>
          </a:p>
          <a:p>
            <a:pPr marL="285750" indent="-285750">
              <a:spcBef>
                <a:spcPct val="20000"/>
              </a:spcBef>
              <a:buFont typeface="Arial" pitchFamily="34" charset="0"/>
              <a:buChar char="•"/>
            </a:pPr>
            <a:r>
              <a:rPr lang="ru-RU" sz="1600" dirty="0" smtClean="0"/>
              <a:t>Ранее дефицит восполнялся новым предложением, с 2016 года темпы роста предложения замедлились</a:t>
            </a:r>
            <a:endParaRPr lang="ru-RU" sz="1600" dirty="0"/>
          </a:p>
          <a:p>
            <a:pPr marL="285750" indent="-285750">
              <a:spcBef>
                <a:spcPct val="20000"/>
              </a:spcBef>
              <a:buFont typeface="Arial" pitchFamily="34" charset="0"/>
              <a:buChar char="•"/>
            </a:pPr>
            <a:r>
              <a:rPr lang="ru-RU" sz="1600" dirty="0"/>
              <a:t>Новое предложение представлено малыми и мини-отелями (средняя вместимость одной гостиницы снизилась с 44 номеров до 31 номера.</a:t>
            </a:r>
          </a:p>
        </p:txBody>
      </p:sp>
    </p:spTree>
    <p:extLst>
      <p:ext uri="{BB962C8B-B14F-4D97-AF65-F5344CB8AC3E}">
        <p14:creationId xmlns:p14="http://schemas.microsoft.com/office/powerpoint/2010/main" val="3861531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QFUPE0fXk.GEAleZauP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Mcg5TsC3EOvqzQYc2eK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67VSd6m10eRPqGWNzUSQ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qVEsuRDbUmJBxwjWCFt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Z10hMRvv0SCUnRHr9uo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diZctvqAk.zzZzBrIUk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dYHUmFMnk6wcasHxKN7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AV.wvgXWk276lKLlhFFWA"/>
</p:tagLst>
</file>

<file path=ppt/theme/theme1.xml><?xml version="1.0" encoding="utf-8"?>
<a:theme xmlns:a="http://schemas.openxmlformats.org/drawingml/2006/main" name="CW Microsoft Theme 1.1">
  <a:themeElements>
    <a:clrScheme name="Custom 1">
      <a:dk1>
        <a:srgbClr val="696B6B"/>
      </a:dk1>
      <a:lt1>
        <a:srgbClr val="FFFFFF"/>
      </a:lt1>
      <a:dk2>
        <a:srgbClr val="E4002B"/>
      </a:dk2>
      <a:lt2>
        <a:srgbClr val="9BD3DD"/>
      </a:lt2>
      <a:accent1>
        <a:srgbClr val="0093B2"/>
      </a:accent1>
      <a:accent2>
        <a:srgbClr val="696B6B"/>
      </a:accent2>
      <a:accent3>
        <a:srgbClr val="A6192E"/>
      </a:accent3>
      <a:accent4>
        <a:srgbClr val="B5BD00"/>
      </a:accent4>
      <a:accent5>
        <a:srgbClr val="FF671F"/>
      </a:accent5>
      <a:accent6>
        <a:srgbClr val="003865"/>
      </a:accent6>
      <a:hlink>
        <a:srgbClr val="E4002B"/>
      </a:hlink>
      <a:folHlink>
        <a:srgbClr val="696B6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tent Layouts - No Edge">
  <a:themeElements>
    <a:clrScheme name="Custom 2">
      <a:dk1>
        <a:srgbClr val="54585A"/>
      </a:dk1>
      <a:lt1>
        <a:srgbClr val="FFFFFF"/>
      </a:lt1>
      <a:dk2>
        <a:srgbClr val="E4002B"/>
      </a:dk2>
      <a:lt2>
        <a:srgbClr val="9BD3DD"/>
      </a:lt2>
      <a:accent1>
        <a:srgbClr val="0093B2"/>
      </a:accent1>
      <a:accent2>
        <a:srgbClr val="54585A"/>
      </a:accent2>
      <a:accent3>
        <a:srgbClr val="A6192E"/>
      </a:accent3>
      <a:accent4>
        <a:srgbClr val="B5BD00"/>
      </a:accent4>
      <a:accent5>
        <a:srgbClr val="FF671F"/>
      </a:accent5>
      <a:accent6>
        <a:srgbClr val="003865"/>
      </a:accent6>
      <a:hlink>
        <a:srgbClr val="E4002B"/>
      </a:hlink>
      <a:folHlink>
        <a:srgbClr val="5458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B55CAF91F753C47AFA644DA90026764" ma:contentTypeVersion="1" ma:contentTypeDescription="Create a new document." ma:contentTypeScope="" ma:versionID="124bd6c6f0cdf7b43566e31b0957a2a9">
  <xsd:schema xmlns:xsd="http://www.w3.org/2001/XMLSchema" xmlns:xs="http://www.w3.org/2001/XMLSchema" xmlns:p="http://schemas.microsoft.com/office/2006/metadata/properties" xmlns:ns2="http://schemas.microsoft.com/sharepoint/v4" targetNamespace="http://schemas.microsoft.com/office/2006/metadata/properties" ma:root="true" ma:fieldsID="c79c8594d4fa4c9fd200c91a62336472" ns2:_="">
    <xsd:import namespace="http://schemas.microsoft.com/sharepoint/v4"/>
    <xsd:element name="properties">
      <xsd:complexType>
        <xsd:sequence>
          <xsd:element name="documentManagement">
            <xsd:complexType>
              <xsd:all>
                <xsd:element ref="ns2: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8"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11EBCA9-7A5C-4159-81C0-2B22E1D3DD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E572061-48CE-4EA1-B8A1-F23C8F865CEC}">
  <ds:schemaRefs>
    <ds:schemaRef ds:uri="http://purl.org/dc/dcmitype/"/>
    <ds:schemaRef ds:uri="http://schemas.openxmlformats.org/package/2006/metadata/core-properties"/>
    <ds:schemaRef ds:uri="http://schemas.microsoft.com/office/2006/documentManagement/types"/>
    <ds:schemaRef ds:uri="http://purl.org/dc/elements/1.1/"/>
    <ds:schemaRef ds:uri="http://www.w3.org/XML/1998/namespace"/>
    <ds:schemaRef ds:uri="http://schemas.microsoft.com/office/2006/metadata/properties"/>
    <ds:schemaRef ds:uri="http://schemas.microsoft.com/office/infopath/2007/PartnerControls"/>
    <ds:schemaRef ds:uri="http://schemas.microsoft.com/sharepoint/v4"/>
    <ds:schemaRef ds:uri="http://purl.org/dc/terms/"/>
  </ds:schemaRefs>
</ds:datastoreItem>
</file>

<file path=customXml/itemProps3.xml><?xml version="1.0" encoding="utf-8"?>
<ds:datastoreItem xmlns:ds="http://schemas.openxmlformats.org/officeDocument/2006/customXml" ds:itemID="{5F6E4827-385F-45E5-870C-EF7A141ED93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180</TotalTime>
  <Words>598</Words>
  <Application>Microsoft Office PowerPoint</Application>
  <PresentationFormat>Widescreen</PresentationFormat>
  <Paragraphs>125</Paragraphs>
  <Slides>12</Slides>
  <Notes>1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19" baseType="lpstr">
      <vt:lpstr>Arial</vt:lpstr>
      <vt:lpstr>Calibri</vt:lpstr>
      <vt:lpstr>Georgia</vt:lpstr>
      <vt:lpstr>GothamBold</vt:lpstr>
      <vt:lpstr>CW Microsoft Theme 1.1</vt:lpstr>
      <vt:lpstr>Content Layouts - No Edge</vt:lpstr>
      <vt:lpstr>think-cell Slide</vt:lpstr>
      <vt:lpstr>Развитие гостиничного бизнеса в РФ как основа развития внутреннего и въездного туризма</vt:lpstr>
      <vt:lpstr>Содержание</vt:lpstr>
      <vt:lpstr>Развитие гостиниц в регионах РФ</vt:lpstr>
      <vt:lpstr>Кто в зоне риска</vt:lpstr>
      <vt:lpstr>Темпы изменения количества гостиниц</vt:lpstr>
      <vt:lpstr>Загрузка гостиниц </vt:lpstr>
      <vt:lpstr>Операционные показатели апрель 2017 года (YtoY)</vt:lpstr>
      <vt:lpstr>Уровень развития гостиничной базы</vt:lpstr>
      <vt:lpstr>Сколько гостиниц нужно России</vt:lpstr>
      <vt:lpstr>Почему тормозятся туристские проекты?</vt:lpstr>
      <vt:lpstr>Пример инвестиционного проекта</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troy.estes</dc:creator>
  <cp:lastModifiedBy>Marina Smirnova</cp:lastModifiedBy>
  <cp:revision>186</cp:revision>
  <cp:lastPrinted>2017-06-21T06:21:43Z</cp:lastPrinted>
  <dcterms:created xsi:type="dcterms:W3CDTF">2014-12-01T19:10:47Z</dcterms:created>
  <dcterms:modified xsi:type="dcterms:W3CDTF">2017-06-21T06:2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bc45d6b7-9faf-473c-b7e7-b45fd35140a7</vt:lpwstr>
  </property>
  <property fmtid="{D5CDD505-2E9C-101B-9397-08002B2CF9AE}" pid="3" name="ContentTypeId">
    <vt:lpwstr>0x010100FB55CAF91F753C47AFA644DA90026764</vt:lpwstr>
  </property>
</Properties>
</file>